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media/image8.jpg" ContentType="image/jpeg"/>
  <Override PartName="/ppt/media/image9.jpg" ContentType="image/jpeg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55" r:id="rId2"/>
    <p:sldId id="337" r:id="rId3"/>
    <p:sldId id="339" r:id="rId4"/>
    <p:sldId id="342" r:id="rId5"/>
    <p:sldId id="341" r:id="rId6"/>
    <p:sldId id="358" r:id="rId7"/>
    <p:sldId id="343" r:id="rId8"/>
    <p:sldId id="360" r:id="rId9"/>
    <p:sldId id="361" r:id="rId10"/>
    <p:sldId id="362" r:id="rId11"/>
    <p:sldId id="344" r:id="rId12"/>
    <p:sldId id="357" r:id="rId13"/>
    <p:sldId id="367" r:id="rId14"/>
    <p:sldId id="348" r:id="rId15"/>
    <p:sldId id="350" r:id="rId16"/>
    <p:sldId id="368" r:id="rId17"/>
    <p:sldId id="369" r:id="rId18"/>
    <p:sldId id="370" r:id="rId19"/>
  </p:sldIdLst>
  <p:sldSz cx="10693400" cy="7556500"/>
  <p:notesSz cx="9906000" cy="6794500"/>
  <p:defaultTextStyle>
    <a:defPPr>
      <a:defRPr lang="ru-RU"/>
    </a:defPPr>
    <a:lvl1pPr marL="0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82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62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44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27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08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490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570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652" algn="l" defTabSz="91416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96" userDrawn="1">
          <p15:clr>
            <a:srgbClr val="A4A3A4"/>
          </p15:clr>
        </p15:guide>
        <p15:guide id="2" pos="6344" userDrawn="1">
          <p15:clr>
            <a:srgbClr val="A4A3A4"/>
          </p15:clr>
        </p15:guide>
        <p15:guide id="3" pos="392" userDrawn="1">
          <p15:clr>
            <a:srgbClr val="A4A3A4"/>
          </p15:clr>
        </p15:guide>
        <p15:guide id="6" orient="horz" pos="508" userDrawn="1">
          <p15:clr>
            <a:srgbClr val="A4A3A4"/>
          </p15:clr>
        </p15:guide>
        <p15:guide id="7" pos="63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1E8C"/>
    <a:srgbClr val="2B2C84"/>
    <a:srgbClr val="EA5614"/>
    <a:srgbClr val="F05000"/>
    <a:srgbClr val="FA4616"/>
    <a:srgbClr val="10069F"/>
    <a:srgbClr val="9B9B9B"/>
    <a:srgbClr val="E8E8E8"/>
    <a:srgbClr val="BFBAFC"/>
    <a:srgbClr val="DDD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52" autoAdjust="0"/>
    <p:restoredTop sz="41906" autoAdjust="0"/>
  </p:normalViewPr>
  <p:slideViewPr>
    <p:cSldViewPr>
      <p:cViewPr varScale="1">
        <p:scale>
          <a:sx n="83" d="100"/>
          <a:sy n="83" d="100"/>
        </p:scale>
        <p:origin x="90" y="528"/>
      </p:cViewPr>
      <p:guideLst>
        <p:guide orient="horz" pos="4396"/>
        <p:guide pos="6344"/>
        <p:guide pos="392"/>
        <p:guide orient="horz" pos="508"/>
        <p:guide pos="63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99" cy="339725"/>
          </a:xfrm>
          <a:prstGeom prst="rect">
            <a:avLst/>
          </a:prstGeom>
        </p:spPr>
        <p:txBody>
          <a:bodyPr vert="horz" lIns="83677" tIns="41838" rIns="83677" bIns="41838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11832" y="0"/>
            <a:ext cx="4291227" cy="339725"/>
          </a:xfrm>
          <a:prstGeom prst="rect">
            <a:avLst/>
          </a:prstGeom>
        </p:spPr>
        <p:txBody>
          <a:bodyPr vert="horz" lIns="83677" tIns="41838" rIns="83677" bIns="41838" rtlCol="0"/>
          <a:lstStyle>
            <a:lvl1pPr algn="r">
              <a:defRPr sz="1100"/>
            </a:lvl1pPr>
          </a:lstStyle>
          <a:p>
            <a:fld id="{25550373-A573-4DEA-B662-2D566262CE61}" type="datetimeFigureOut">
              <a:rPr lang="ru-RU" smtClean="0"/>
              <a:t>03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49600" y="509588"/>
            <a:ext cx="3606800" cy="2547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677" tIns="41838" rIns="83677" bIns="4183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1188" y="3227388"/>
            <a:ext cx="7923624" cy="3057525"/>
          </a:xfrm>
          <a:prstGeom prst="rect">
            <a:avLst/>
          </a:prstGeom>
        </p:spPr>
        <p:txBody>
          <a:bodyPr vert="horz" lIns="83677" tIns="41838" rIns="83677" bIns="4183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3348"/>
            <a:ext cx="4292699" cy="339725"/>
          </a:xfrm>
          <a:prstGeom prst="rect">
            <a:avLst/>
          </a:prstGeom>
        </p:spPr>
        <p:txBody>
          <a:bodyPr vert="horz" lIns="83677" tIns="41838" rIns="83677" bIns="41838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11832" y="6453348"/>
            <a:ext cx="4291227" cy="339725"/>
          </a:xfrm>
          <a:prstGeom prst="rect">
            <a:avLst/>
          </a:prstGeom>
        </p:spPr>
        <p:txBody>
          <a:bodyPr vert="horz" lIns="83677" tIns="41838" rIns="83677" bIns="41838" rtlCol="0" anchor="b"/>
          <a:lstStyle>
            <a:lvl1pPr algn="r">
              <a:defRPr sz="1100"/>
            </a:lvl1pPr>
          </a:lstStyle>
          <a:p>
            <a:fld id="{1B0763B2-E8C6-4935-B53B-956941B576E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265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57082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914162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71244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828327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285408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742490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99570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656652" algn="l" defTabSz="91416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49600" y="509588"/>
            <a:ext cx="3606800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763B2-E8C6-4935-B53B-956941B576E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2266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49600" y="509588"/>
            <a:ext cx="3606800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763B2-E8C6-4935-B53B-956941B576EC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9773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2515"/>
            <a:ext cx="908939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1642"/>
            <a:ext cx="748538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27545"/>
            <a:ext cx="3421888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182DA1-5752-4B3F-BAC5-5E98C18F53F9}" type="datetime1">
              <a:rPr lang="en-US" smtClean="0"/>
              <a:t>8/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9760" y="976374"/>
            <a:ext cx="4347845" cy="430887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4670" y="2940050"/>
            <a:ext cx="9701007" cy="276999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27545"/>
            <a:ext cx="3421888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C47987-7713-4354-B8E9-A3CC4008ADD1}" type="datetime1">
              <a:rPr lang="en-US" smtClean="0"/>
              <a:t>8/3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8239314" y="6177497"/>
            <a:ext cx="2044930" cy="34217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9760" y="976374"/>
            <a:ext cx="4347845" cy="430887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7997"/>
            <a:ext cx="465162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7997"/>
            <a:ext cx="465162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635756" y="7027545"/>
            <a:ext cx="3421888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534670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356984-01D7-4FAF-8F2D-E4DFC16A4F90}" type="datetime1">
              <a:rPr lang="en-US" smtClean="0"/>
              <a:t>8/3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7699248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119760" y="976374"/>
            <a:ext cx="4347845" cy="430887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635756" y="7027545"/>
            <a:ext cx="3421888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534670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8BE4B7-F730-4860-A6A6-804DFA40FFBF}" type="datetime1">
              <a:rPr lang="en-US" smtClean="0"/>
              <a:t>8/3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7699248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k object 17"/>
          <p:cNvSpPr/>
          <p:nvPr/>
        </p:nvSpPr>
        <p:spPr>
          <a:xfrm>
            <a:off x="604608" y="6832439"/>
            <a:ext cx="233324" cy="23329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569147" y="6715949"/>
            <a:ext cx="383540" cy="383540"/>
          </a:xfrm>
          <a:custGeom>
            <a:avLst/>
            <a:gdLst/>
            <a:ahLst/>
            <a:cxnLst/>
            <a:rect l="l" t="t" r="r" b="b"/>
            <a:pathLst>
              <a:path w="383540" h="383540">
                <a:moveTo>
                  <a:pt x="269684" y="0"/>
                </a:moveTo>
                <a:lnTo>
                  <a:pt x="109283" y="0"/>
                </a:lnTo>
                <a:lnTo>
                  <a:pt x="72259" y="6202"/>
                </a:lnTo>
                <a:lnTo>
                  <a:pt x="40258" y="23464"/>
                </a:lnTo>
                <a:lnTo>
                  <a:pt x="15450" y="49768"/>
                </a:lnTo>
                <a:lnTo>
                  <a:pt x="0" y="83096"/>
                </a:lnTo>
                <a:lnTo>
                  <a:pt x="193878" y="83096"/>
                </a:lnTo>
                <a:lnTo>
                  <a:pt x="241940" y="89787"/>
                </a:lnTo>
                <a:lnTo>
                  <a:pt x="274967" y="110613"/>
                </a:lnTo>
                <a:lnTo>
                  <a:pt x="294012" y="146704"/>
                </a:lnTo>
                <a:lnTo>
                  <a:pt x="300126" y="199186"/>
                </a:lnTo>
                <a:lnTo>
                  <a:pt x="300126" y="383197"/>
                </a:lnTo>
                <a:lnTo>
                  <a:pt x="333400" y="367724"/>
                </a:lnTo>
                <a:lnTo>
                  <a:pt x="359710" y="342880"/>
                </a:lnTo>
                <a:lnTo>
                  <a:pt x="377002" y="310884"/>
                </a:lnTo>
                <a:lnTo>
                  <a:pt x="383222" y="273951"/>
                </a:lnTo>
                <a:lnTo>
                  <a:pt x="383222" y="113525"/>
                </a:lnTo>
                <a:lnTo>
                  <a:pt x="374299" y="69330"/>
                </a:lnTo>
                <a:lnTo>
                  <a:pt x="349965" y="33245"/>
                </a:lnTo>
                <a:lnTo>
                  <a:pt x="313876" y="8919"/>
                </a:lnTo>
                <a:lnTo>
                  <a:pt x="26968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485738" y="6799045"/>
            <a:ext cx="383540" cy="383540"/>
          </a:xfrm>
          <a:custGeom>
            <a:avLst/>
            <a:gdLst/>
            <a:ahLst/>
            <a:cxnLst/>
            <a:rect l="l" t="t" r="r" b="b"/>
            <a:pathLst>
              <a:path w="383540" h="383540">
                <a:moveTo>
                  <a:pt x="83096" y="0"/>
                </a:moveTo>
                <a:lnTo>
                  <a:pt x="49822" y="15467"/>
                </a:lnTo>
                <a:lnTo>
                  <a:pt x="23512" y="40311"/>
                </a:lnTo>
                <a:lnTo>
                  <a:pt x="6220" y="72310"/>
                </a:lnTo>
                <a:lnTo>
                  <a:pt x="0" y="109245"/>
                </a:lnTo>
                <a:lnTo>
                  <a:pt x="0" y="269659"/>
                </a:lnTo>
                <a:lnTo>
                  <a:pt x="8921" y="313856"/>
                </a:lnTo>
                <a:lnTo>
                  <a:pt x="33251" y="349945"/>
                </a:lnTo>
                <a:lnTo>
                  <a:pt x="69340" y="374275"/>
                </a:lnTo>
                <a:lnTo>
                  <a:pt x="113538" y="383197"/>
                </a:lnTo>
                <a:lnTo>
                  <a:pt x="273926" y="383197"/>
                </a:lnTo>
                <a:lnTo>
                  <a:pt x="310958" y="376994"/>
                </a:lnTo>
                <a:lnTo>
                  <a:pt x="342961" y="359732"/>
                </a:lnTo>
                <a:lnTo>
                  <a:pt x="367771" y="333428"/>
                </a:lnTo>
                <a:lnTo>
                  <a:pt x="383222" y="300101"/>
                </a:lnTo>
                <a:lnTo>
                  <a:pt x="189331" y="300101"/>
                </a:lnTo>
                <a:lnTo>
                  <a:pt x="141271" y="293407"/>
                </a:lnTo>
                <a:lnTo>
                  <a:pt x="108248" y="272576"/>
                </a:lnTo>
                <a:lnTo>
                  <a:pt x="89208" y="236482"/>
                </a:lnTo>
                <a:lnTo>
                  <a:pt x="83096" y="183997"/>
                </a:lnTo>
                <a:lnTo>
                  <a:pt x="83096" y="0"/>
                </a:lnTo>
                <a:close/>
              </a:path>
            </a:pathLst>
          </a:custGeom>
          <a:solidFill>
            <a:srgbClr val="F1652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2961650" y="6990488"/>
            <a:ext cx="49529" cy="74930"/>
          </a:xfrm>
          <a:custGeom>
            <a:avLst/>
            <a:gdLst/>
            <a:ahLst/>
            <a:cxnLst/>
            <a:rect l="l" t="t" r="r" b="b"/>
            <a:pathLst>
              <a:path w="49530" h="74929">
                <a:moveTo>
                  <a:pt x="0" y="74929"/>
                </a:moveTo>
                <a:lnTo>
                  <a:pt x="48945" y="74929"/>
                </a:lnTo>
                <a:lnTo>
                  <a:pt x="48945" y="0"/>
                </a:lnTo>
                <a:lnTo>
                  <a:pt x="0" y="0"/>
                </a:lnTo>
                <a:lnTo>
                  <a:pt x="0" y="749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2961650" y="6974611"/>
            <a:ext cx="150495" cy="0"/>
          </a:xfrm>
          <a:custGeom>
            <a:avLst/>
            <a:gdLst/>
            <a:ahLst/>
            <a:cxnLst/>
            <a:rect l="l" t="t" r="r" b="b"/>
            <a:pathLst>
              <a:path w="150494">
                <a:moveTo>
                  <a:pt x="0" y="0"/>
                </a:moveTo>
                <a:lnTo>
                  <a:pt x="150355" y="0"/>
                </a:lnTo>
              </a:path>
            </a:pathLst>
          </a:custGeom>
          <a:ln w="317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2961650" y="6896507"/>
            <a:ext cx="49529" cy="62230"/>
          </a:xfrm>
          <a:custGeom>
            <a:avLst/>
            <a:gdLst/>
            <a:ahLst/>
            <a:cxnLst/>
            <a:rect l="l" t="t" r="r" b="b"/>
            <a:pathLst>
              <a:path w="49530" h="62229">
                <a:moveTo>
                  <a:pt x="0" y="62229"/>
                </a:moveTo>
                <a:lnTo>
                  <a:pt x="48945" y="62229"/>
                </a:lnTo>
                <a:lnTo>
                  <a:pt x="48945" y="0"/>
                </a:lnTo>
                <a:lnTo>
                  <a:pt x="0" y="0"/>
                </a:lnTo>
                <a:lnTo>
                  <a:pt x="0" y="6222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3063746" y="6990108"/>
            <a:ext cx="48259" cy="75565"/>
          </a:xfrm>
          <a:custGeom>
            <a:avLst/>
            <a:gdLst/>
            <a:ahLst/>
            <a:cxnLst/>
            <a:rect l="l" t="t" r="r" b="b"/>
            <a:pathLst>
              <a:path w="48260" h="75565">
                <a:moveTo>
                  <a:pt x="48260" y="0"/>
                </a:moveTo>
                <a:lnTo>
                  <a:pt x="0" y="0"/>
                </a:lnTo>
                <a:lnTo>
                  <a:pt x="0" y="75310"/>
                </a:lnTo>
                <a:lnTo>
                  <a:pt x="48260" y="75310"/>
                </a:lnTo>
                <a:lnTo>
                  <a:pt x="482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3063746" y="6896494"/>
            <a:ext cx="48259" cy="62864"/>
          </a:xfrm>
          <a:custGeom>
            <a:avLst/>
            <a:gdLst/>
            <a:ahLst/>
            <a:cxnLst/>
            <a:rect l="l" t="t" r="r" b="b"/>
            <a:pathLst>
              <a:path w="48260" h="62865">
                <a:moveTo>
                  <a:pt x="48260" y="0"/>
                </a:moveTo>
                <a:lnTo>
                  <a:pt x="0" y="0"/>
                </a:lnTo>
                <a:lnTo>
                  <a:pt x="0" y="62763"/>
                </a:lnTo>
                <a:lnTo>
                  <a:pt x="48260" y="62763"/>
                </a:lnTo>
                <a:lnTo>
                  <a:pt x="4826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2795640" y="6892902"/>
            <a:ext cx="140893" cy="1752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k object 26"/>
          <p:cNvSpPr/>
          <p:nvPr/>
        </p:nvSpPr>
        <p:spPr>
          <a:xfrm>
            <a:off x="2618505" y="6802545"/>
            <a:ext cx="168275" cy="267336"/>
          </a:xfrm>
          <a:custGeom>
            <a:avLst/>
            <a:gdLst/>
            <a:ahLst/>
            <a:cxnLst/>
            <a:rect l="l" t="t" r="r" b="b"/>
            <a:pathLst>
              <a:path w="168275" h="267334">
                <a:moveTo>
                  <a:pt x="150064" y="0"/>
                </a:moveTo>
                <a:lnTo>
                  <a:pt x="112129" y="5629"/>
                </a:lnTo>
                <a:lnTo>
                  <a:pt x="53993" y="22185"/>
                </a:lnTo>
                <a:lnTo>
                  <a:pt x="13758" y="63417"/>
                </a:lnTo>
                <a:lnTo>
                  <a:pt x="351" y="125065"/>
                </a:lnTo>
                <a:lnTo>
                  <a:pt x="0" y="157313"/>
                </a:lnTo>
                <a:lnTo>
                  <a:pt x="2523" y="188368"/>
                </a:lnTo>
                <a:lnTo>
                  <a:pt x="19015" y="234489"/>
                </a:lnTo>
                <a:lnTo>
                  <a:pt x="56320" y="262880"/>
                </a:lnTo>
                <a:lnTo>
                  <a:pt x="84202" y="266979"/>
                </a:lnTo>
                <a:lnTo>
                  <a:pt x="121509" y="260609"/>
                </a:lnTo>
                <a:lnTo>
                  <a:pt x="147627" y="242462"/>
                </a:lnTo>
                <a:lnTo>
                  <a:pt x="148843" y="240207"/>
                </a:lnTo>
                <a:lnTo>
                  <a:pt x="84532" y="240207"/>
                </a:lnTo>
                <a:lnTo>
                  <a:pt x="67288" y="232699"/>
                </a:lnTo>
                <a:lnTo>
                  <a:pt x="56716" y="214629"/>
                </a:lnTo>
                <a:lnTo>
                  <a:pt x="51407" y="192684"/>
                </a:lnTo>
                <a:lnTo>
                  <a:pt x="49950" y="173545"/>
                </a:lnTo>
                <a:lnTo>
                  <a:pt x="50666" y="160538"/>
                </a:lnTo>
                <a:lnTo>
                  <a:pt x="68213" y="120700"/>
                </a:lnTo>
                <a:lnTo>
                  <a:pt x="71884" y="119202"/>
                </a:lnTo>
                <a:lnTo>
                  <a:pt x="38190" y="119202"/>
                </a:lnTo>
                <a:lnTo>
                  <a:pt x="52393" y="68319"/>
                </a:lnTo>
                <a:lnTo>
                  <a:pt x="94972" y="46164"/>
                </a:lnTo>
                <a:lnTo>
                  <a:pt x="138371" y="38998"/>
                </a:lnTo>
                <a:lnTo>
                  <a:pt x="153633" y="36233"/>
                </a:lnTo>
                <a:lnTo>
                  <a:pt x="150064" y="0"/>
                </a:lnTo>
                <a:close/>
              </a:path>
              <a:path w="168275" h="267334">
                <a:moveTo>
                  <a:pt x="152351" y="117906"/>
                </a:moveTo>
                <a:lnTo>
                  <a:pt x="83542" y="117906"/>
                </a:lnTo>
                <a:lnTo>
                  <a:pt x="91562" y="119165"/>
                </a:lnTo>
                <a:lnTo>
                  <a:pt x="98752" y="122948"/>
                </a:lnTo>
                <a:lnTo>
                  <a:pt x="115111" y="160040"/>
                </a:lnTo>
                <a:lnTo>
                  <a:pt x="116498" y="181165"/>
                </a:lnTo>
                <a:lnTo>
                  <a:pt x="115941" y="194451"/>
                </a:lnTo>
                <a:lnTo>
                  <a:pt x="99531" y="237134"/>
                </a:lnTo>
                <a:lnTo>
                  <a:pt x="93003" y="240207"/>
                </a:lnTo>
                <a:lnTo>
                  <a:pt x="148843" y="240207"/>
                </a:lnTo>
                <a:lnTo>
                  <a:pt x="162985" y="213979"/>
                </a:lnTo>
                <a:lnTo>
                  <a:pt x="168009" y="176606"/>
                </a:lnTo>
                <a:lnTo>
                  <a:pt x="167702" y="168261"/>
                </a:lnTo>
                <a:lnTo>
                  <a:pt x="159885" y="130878"/>
                </a:lnTo>
                <a:lnTo>
                  <a:pt x="155197" y="121878"/>
                </a:lnTo>
                <a:lnTo>
                  <a:pt x="152351" y="117906"/>
                </a:lnTo>
                <a:close/>
              </a:path>
              <a:path w="168275" h="267334">
                <a:moveTo>
                  <a:pt x="94476" y="90624"/>
                </a:moveTo>
                <a:lnTo>
                  <a:pt x="64046" y="96988"/>
                </a:lnTo>
                <a:lnTo>
                  <a:pt x="38190" y="119202"/>
                </a:lnTo>
                <a:lnTo>
                  <a:pt x="71884" y="119202"/>
                </a:lnTo>
                <a:lnTo>
                  <a:pt x="75058" y="117906"/>
                </a:lnTo>
                <a:lnTo>
                  <a:pt x="152351" y="117906"/>
                </a:lnTo>
                <a:lnTo>
                  <a:pt x="149168" y="113464"/>
                </a:lnTo>
                <a:lnTo>
                  <a:pt x="141924" y="105689"/>
                </a:lnTo>
                <a:lnTo>
                  <a:pt x="122697" y="95170"/>
                </a:lnTo>
                <a:lnTo>
                  <a:pt x="94476" y="906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k object 27"/>
          <p:cNvSpPr/>
          <p:nvPr/>
        </p:nvSpPr>
        <p:spPr>
          <a:xfrm>
            <a:off x="3140062" y="6896494"/>
            <a:ext cx="155588" cy="1689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k object 28"/>
          <p:cNvSpPr/>
          <p:nvPr/>
        </p:nvSpPr>
        <p:spPr>
          <a:xfrm>
            <a:off x="2324368" y="6892420"/>
            <a:ext cx="124929" cy="1765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k object 29"/>
          <p:cNvSpPr/>
          <p:nvPr/>
        </p:nvSpPr>
        <p:spPr>
          <a:xfrm>
            <a:off x="1848862" y="6892422"/>
            <a:ext cx="127636" cy="177165"/>
          </a:xfrm>
          <a:custGeom>
            <a:avLst/>
            <a:gdLst/>
            <a:ahLst/>
            <a:cxnLst/>
            <a:rect l="l" t="t" r="r" b="b"/>
            <a:pathLst>
              <a:path w="127635" h="177165">
                <a:moveTo>
                  <a:pt x="87376" y="0"/>
                </a:moveTo>
                <a:lnTo>
                  <a:pt x="50759" y="5999"/>
                </a:lnTo>
                <a:lnTo>
                  <a:pt x="23275" y="23309"/>
                </a:lnTo>
                <a:lnTo>
                  <a:pt x="5997" y="50893"/>
                </a:lnTo>
                <a:lnTo>
                  <a:pt x="0" y="87718"/>
                </a:lnTo>
                <a:lnTo>
                  <a:pt x="5712" y="124804"/>
                </a:lnTo>
                <a:lnTo>
                  <a:pt x="22461" y="152777"/>
                </a:lnTo>
                <a:lnTo>
                  <a:pt x="49661" y="170439"/>
                </a:lnTo>
                <a:lnTo>
                  <a:pt x="86728" y="176593"/>
                </a:lnTo>
                <a:lnTo>
                  <a:pt x="97074" y="176242"/>
                </a:lnTo>
                <a:lnTo>
                  <a:pt x="106833" y="175128"/>
                </a:lnTo>
                <a:lnTo>
                  <a:pt x="116405" y="173159"/>
                </a:lnTo>
                <a:lnTo>
                  <a:pt x="126187" y="170243"/>
                </a:lnTo>
                <a:lnTo>
                  <a:pt x="123381" y="145770"/>
                </a:lnTo>
                <a:lnTo>
                  <a:pt x="95529" y="145770"/>
                </a:lnTo>
                <a:lnTo>
                  <a:pt x="74165" y="140665"/>
                </a:lnTo>
                <a:lnTo>
                  <a:pt x="59593" y="127198"/>
                </a:lnTo>
                <a:lnTo>
                  <a:pt x="51257" y="108142"/>
                </a:lnTo>
                <a:lnTo>
                  <a:pt x="48602" y="86271"/>
                </a:lnTo>
                <a:lnTo>
                  <a:pt x="51297" y="65136"/>
                </a:lnTo>
                <a:lnTo>
                  <a:pt x="59670" y="47269"/>
                </a:lnTo>
                <a:lnTo>
                  <a:pt x="74159" y="34907"/>
                </a:lnTo>
                <a:lnTo>
                  <a:pt x="95199" y="30289"/>
                </a:lnTo>
                <a:lnTo>
                  <a:pt x="123184" y="30289"/>
                </a:lnTo>
                <a:lnTo>
                  <a:pt x="127177" y="6845"/>
                </a:lnTo>
                <a:lnTo>
                  <a:pt x="117154" y="3637"/>
                </a:lnTo>
                <a:lnTo>
                  <a:pt x="107648" y="1522"/>
                </a:lnTo>
                <a:lnTo>
                  <a:pt x="97956" y="356"/>
                </a:lnTo>
                <a:lnTo>
                  <a:pt x="87376" y="0"/>
                </a:lnTo>
                <a:close/>
              </a:path>
              <a:path w="127635" h="177165">
                <a:moveTo>
                  <a:pt x="122618" y="139115"/>
                </a:moveTo>
                <a:lnTo>
                  <a:pt x="116078" y="142084"/>
                </a:lnTo>
                <a:lnTo>
                  <a:pt x="109550" y="144157"/>
                </a:lnTo>
                <a:lnTo>
                  <a:pt x="102783" y="145373"/>
                </a:lnTo>
                <a:lnTo>
                  <a:pt x="95529" y="145770"/>
                </a:lnTo>
                <a:lnTo>
                  <a:pt x="123381" y="145770"/>
                </a:lnTo>
                <a:lnTo>
                  <a:pt x="122618" y="139115"/>
                </a:lnTo>
                <a:close/>
              </a:path>
              <a:path w="127635" h="177165">
                <a:moveTo>
                  <a:pt x="123184" y="30289"/>
                </a:moveTo>
                <a:lnTo>
                  <a:pt x="95199" y="30289"/>
                </a:lnTo>
                <a:lnTo>
                  <a:pt x="102227" y="30771"/>
                </a:lnTo>
                <a:lnTo>
                  <a:pt x="108826" y="32175"/>
                </a:lnTo>
                <a:lnTo>
                  <a:pt x="115301" y="34436"/>
                </a:lnTo>
                <a:lnTo>
                  <a:pt x="121958" y="37490"/>
                </a:lnTo>
                <a:lnTo>
                  <a:pt x="123184" y="3028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k object 30"/>
          <p:cNvSpPr/>
          <p:nvPr/>
        </p:nvSpPr>
        <p:spPr>
          <a:xfrm>
            <a:off x="2470174" y="6896500"/>
            <a:ext cx="135649" cy="1725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k object 31"/>
          <p:cNvSpPr/>
          <p:nvPr/>
        </p:nvSpPr>
        <p:spPr>
          <a:xfrm>
            <a:off x="2001488" y="6892414"/>
            <a:ext cx="298084" cy="17659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k object 32"/>
          <p:cNvSpPr/>
          <p:nvPr/>
        </p:nvSpPr>
        <p:spPr>
          <a:xfrm>
            <a:off x="1094953" y="6864756"/>
            <a:ext cx="0" cy="200660"/>
          </a:xfrm>
          <a:custGeom>
            <a:avLst/>
            <a:gdLst/>
            <a:ahLst/>
            <a:cxnLst/>
            <a:rect l="l" t="t" r="r" b="b"/>
            <a:pathLst>
              <a:path h="200659">
                <a:moveTo>
                  <a:pt x="0" y="0"/>
                </a:moveTo>
                <a:lnTo>
                  <a:pt x="0" y="200659"/>
                </a:lnTo>
              </a:path>
            </a:pathLst>
          </a:custGeom>
          <a:ln w="5185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bk object 33"/>
          <p:cNvSpPr/>
          <p:nvPr/>
        </p:nvSpPr>
        <p:spPr>
          <a:xfrm>
            <a:off x="1069025" y="6848880"/>
            <a:ext cx="177800" cy="0"/>
          </a:xfrm>
          <a:custGeom>
            <a:avLst/>
            <a:gdLst/>
            <a:ahLst/>
            <a:cxnLst/>
            <a:rect l="l" t="t" r="r" b="b"/>
            <a:pathLst>
              <a:path w="177800">
                <a:moveTo>
                  <a:pt x="0" y="0"/>
                </a:moveTo>
                <a:lnTo>
                  <a:pt x="177444" y="0"/>
                </a:lnTo>
              </a:path>
            </a:pathLst>
          </a:custGeom>
          <a:ln w="317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bk object 34"/>
          <p:cNvSpPr/>
          <p:nvPr/>
        </p:nvSpPr>
        <p:spPr>
          <a:xfrm>
            <a:off x="1220697" y="6865353"/>
            <a:ext cx="0" cy="200660"/>
          </a:xfrm>
          <a:custGeom>
            <a:avLst/>
            <a:gdLst/>
            <a:ahLst/>
            <a:cxnLst/>
            <a:rect l="l" t="t" r="r" b="b"/>
            <a:pathLst>
              <a:path h="200659">
                <a:moveTo>
                  <a:pt x="0" y="0"/>
                </a:moveTo>
                <a:lnTo>
                  <a:pt x="0" y="200063"/>
                </a:lnTo>
              </a:path>
            </a:pathLst>
          </a:custGeom>
          <a:ln w="5154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bk object 35"/>
          <p:cNvSpPr/>
          <p:nvPr/>
        </p:nvSpPr>
        <p:spPr>
          <a:xfrm>
            <a:off x="1274842" y="6892489"/>
            <a:ext cx="157480" cy="241300"/>
          </a:xfrm>
          <a:custGeom>
            <a:avLst/>
            <a:gdLst/>
            <a:ahLst/>
            <a:cxnLst/>
            <a:rect l="l" t="t" r="r" b="b"/>
            <a:pathLst>
              <a:path w="157480" h="241300">
                <a:moveTo>
                  <a:pt x="73628" y="0"/>
                </a:moveTo>
                <a:lnTo>
                  <a:pt x="32615" y="2704"/>
                </a:lnTo>
                <a:lnTo>
                  <a:pt x="0" y="8579"/>
                </a:lnTo>
                <a:lnTo>
                  <a:pt x="0" y="241116"/>
                </a:lnTo>
                <a:lnTo>
                  <a:pt x="48895" y="241116"/>
                </a:lnTo>
                <a:lnTo>
                  <a:pt x="48895" y="169361"/>
                </a:lnTo>
                <a:lnTo>
                  <a:pt x="96512" y="169361"/>
                </a:lnTo>
                <a:lnTo>
                  <a:pt x="112883" y="164196"/>
                </a:lnTo>
                <a:lnTo>
                  <a:pt x="135991" y="145701"/>
                </a:lnTo>
                <a:lnTo>
                  <a:pt x="138618" y="141883"/>
                </a:lnTo>
                <a:lnTo>
                  <a:pt x="61078" y="141883"/>
                </a:lnTo>
                <a:lnTo>
                  <a:pt x="48895" y="139046"/>
                </a:lnTo>
                <a:lnTo>
                  <a:pt x="48895" y="28797"/>
                </a:lnTo>
                <a:lnTo>
                  <a:pt x="65204" y="26659"/>
                </a:lnTo>
                <a:lnTo>
                  <a:pt x="138881" y="26659"/>
                </a:lnTo>
                <a:lnTo>
                  <a:pt x="114051" y="7279"/>
                </a:lnTo>
                <a:lnTo>
                  <a:pt x="73628" y="0"/>
                </a:lnTo>
                <a:close/>
              </a:path>
              <a:path w="157480" h="241300">
                <a:moveTo>
                  <a:pt x="96512" y="169361"/>
                </a:moveTo>
                <a:lnTo>
                  <a:pt x="48895" y="169361"/>
                </a:lnTo>
                <a:lnTo>
                  <a:pt x="64838" y="172797"/>
                </a:lnTo>
                <a:lnTo>
                  <a:pt x="87666" y="172152"/>
                </a:lnTo>
                <a:lnTo>
                  <a:pt x="96512" y="169361"/>
                </a:lnTo>
                <a:close/>
              </a:path>
              <a:path w="157480" h="241300">
                <a:moveTo>
                  <a:pt x="138881" y="26659"/>
                </a:moveTo>
                <a:lnTo>
                  <a:pt x="65204" y="26659"/>
                </a:lnTo>
                <a:lnTo>
                  <a:pt x="85185" y="30516"/>
                </a:lnTo>
                <a:lnTo>
                  <a:pt x="102108" y="46973"/>
                </a:lnTo>
                <a:lnTo>
                  <a:pt x="109245" y="82633"/>
                </a:lnTo>
                <a:lnTo>
                  <a:pt x="100733" y="124787"/>
                </a:lnTo>
                <a:lnTo>
                  <a:pt x="81518" y="140833"/>
                </a:lnTo>
                <a:lnTo>
                  <a:pt x="61078" y="141883"/>
                </a:lnTo>
                <a:lnTo>
                  <a:pt x="138618" y="141883"/>
                </a:lnTo>
                <a:lnTo>
                  <a:pt x="145216" y="132295"/>
                </a:lnTo>
                <a:lnTo>
                  <a:pt x="151841" y="116475"/>
                </a:lnTo>
                <a:lnTo>
                  <a:pt x="155836" y="98602"/>
                </a:lnTo>
                <a:lnTo>
                  <a:pt x="157175" y="79038"/>
                </a:lnTo>
                <a:lnTo>
                  <a:pt x="144896" y="31354"/>
                </a:lnTo>
                <a:lnTo>
                  <a:pt x="138881" y="266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bk object 36"/>
          <p:cNvSpPr/>
          <p:nvPr/>
        </p:nvSpPr>
        <p:spPr>
          <a:xfrm>
            <a:off x="1449327" y="6892422"/>
            <a:ext cx="163195" cy="177165"/>
          </a:xfrm>
          <a:custGeom>
            <a:avLst/>
            <a:gdLst/>
            <a:ahLst/>
            <a:cxnLst/>
            <a:rect l="l" t="t" r="r" b="b"/>
            <a:pathLst>
              <a:path w="163194" h="177165">
                <a:moveTo>
                  <a:pt x="84797" y="0"/>
                </a:moveTo>
                <a:lnTo>
                  <a:pt x="47882" y="6148"/>
                </a:lnTo>
                <a:lnTo>
                  <a:pt x="21362" y="23775"/>
                </a:lnTo>
                <a:lnTo>
                  <a:pt x="5361" y="51654"/>
                </a:lnTo>
                <a:lnTo>
                  <a:pt x="0" y="88557"/>
                </a:lnTo>
                <a:lnTo>
                  <a:pt x="4641" y="124606"/>
                </a:lnTo>
                <a:lnTo>
                  <a:pt x="19037" y="152392"/>
                </a:lnTo>
                <a:lnTo>
                  <a:pt x="43891" y="170269"/>
                </a:lnTo>
                <a:lnTo>
                  <a:pt x="79908" y="176593"/>
                </a:lnTo>
                <a:lnTo>
                  <a:pt x="117792" y="170630"/>
                </a:lnTo>
                <a:lnTo>
                  <a:pt x="143608" y="153247"/>
                </a:lnTo>
                <a:lnTo>
                  <a:pt x="145310" y="150012"/>
                </a:lnTo>
                <a:lnTo>
                  <a:pt x="83489" y="150012"/>
                </a:lnTo>
                <a:lnTo>
                  <a:pt x="65948" y="142987"/>
                </a:lnTo>
                <a:lnTo>
                  <a:pt x="55652" y="125966"/>
                </a:lnTo>
                <a:lnTo>
                  <a:pt x="50798" y="105033"/>
                </a:lnTo>
                <a:lnTo>
                  <a:pt x="49580" y="86271"/>
                </a:lnTo>
                <a:lnTo>
                  <a:pt x="49803" y="78752"/>
                </a:lnTo>
                <a:lnTo>
                  <a:pt x="59368" y="40972"/>
                </a:lnTo>
                <a:lnTo>
                  <a:pt x="83489" y="26720"/>
                </a:lnTo>
                <a:lnTo>
                  <a:pt x="146329" y="26720"/>
                </a:lnTo>
                <a:lnTo>
                  <a:pt x="141366" y="20851"/>
                </a:lnTo>
                <a:lnTo>
                  <a:pt x="133083" y="13703"/>
                </a:lnTo>
                <a:lnTo>
                  <a:pt x="123236" y="7709"/>
                </a:lnTo>
                <a:lnTo>
                  <a:pt x="111869" y="3427"/>
                </a:lnTo>
                <a:lnTo>
                  <a:pt x="99037" y="857"/>
                </a:lnTo>
                <a:lnTo>
                  <a:pt x="84797" y="0"/>
                </a:lnTo>
                <a:close/>
              </a:path>
              <a:path w="163194" h="177165">
                <a:moveTo>
                  <a:pt x="146329" y="26720"/>
                </a:moveTo>
                <a:lnTo>
                  <a:pt x="83489" y="26720"/>
                </a:lnTo>
                <a:lnTo>
                  <a:pt x="90858" y="27887"/>
                </a:lnTo>
                <a:lnTo>
                  <a:pt x="97888" y="31407"/>
                </a:lnTo>
                <a:lnTo>
                  <a:pt x="114761" y="74766"/>
                </a:lnTo>
                <a:lnTo>
                  <a:pt x="115138" y="86271"/>
                </a:lnTo>
                <a:lnTo>
                  <a:pt x="114980" y="94794"/>
                </a:lnTo>
                <a:lnTo>
                  <a:pt x="106937" y="134137"/>
                </a:lnTo>
                <a:lnTo>
                  <a:pt x="83489" y="150012"/>
                </a:lnTo>
                <a:lnTo>
                  <a:pt x="145310" y="150012"/>
                </a:lnTo>
                <a:lnTo>
                  <a:pt x="158361" y="125201"/>
                </a:lnTo>
                <a:lnTo>
                  <a:pt x="163055" y="87249"/>
                </a:lnTo>
                <a:lnTo>
                  <a:pt x="162683" y="77424"/>
                </a:lnTo>
                <a:lnTo>
                  <a:pt x="153317" y="37718"/>
                </a:lnTo>
                <a:lnTo>
                  <a:pt x="148132" y="28852"/>
                </a:lnTo>
                <a:lnTo>
                  <a:pt x="146329" y="267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bk object 37"/>
          <p:cNvSpPr/>
          <p:nvPr/>
        </p:nvSpPr>
        <p:spPr>
          <a:xfrm>
            <a:off x="1622495" y="6896494"/>
            <a:ext cx="215265" cy="169546"/>
          </a:xfrm>
          <a:custGeom>
            <a:avLst/>
            <a:gdLst/>
            <a:ahLst/>
            <a:cxnLst/>
            <a:rect l="l" t="t" r="r" b="b"/>
            <a:pathLst>
              <a:path w="215264" h="169545">
                <a:moveTo>
                  <a:pt x="73710" y="0"/>
                </a:moveTo>
                <a:lnTo>
                  <a:pt x="17602" y="0"/>
                </a:lnTo>
                <a:lnTo>
                  <a:pt x="0" y="168922"/>
                </a:lnTo>
                <a:lnTo>
                  <a:pt x="38811" y="168922"/>
                </a:lnTo>
                <a:lnTo>
                  <a:pt x="48272" y="46456"/>
                </a:lnTo>
                <a:lnTo>
                  <a:pt x="87790" y="46456"/>
                </a:lnTo>
                <a:lnTo>
                  <a:pt x="73710" y="0"/>
                </a:lnTo>
                <a:close/>
              </a:path>
              <a:path w="215264" h="169545">
                <a:moveTo>
                  <a:pt x="87790" y="46456"/>
                </a:moveTo>
                <a:lnTo>
                  <a:pt x="48272" y="46456"/>
                </a:lnTo>
                <a:lnTo>
                  <a:pt x="85458" y="168922"/>
                </a:lnTo>
                <a:lnTo>
                  <a:pt x="124269" y="168922"/>
                </a:lnTo>
                <a:lnTo>
                  <a:pt x="140439" y="115150"/>
                </a:lnTo>
                <a:lnTo>
                  <a:pt x="108610" y="115150"/>
                </a:lnTo>
                <a:lnTo>
                  <a:pt x="87790" y="46456"/>
                </a:lnTo>
                <a:close/>
              </a:path>
              <a:path w="215264" h="169545">
                <a:moveTo>
                  <a:pt x="203218" y="47421"/>
                </a:moveTo>
                <a:lnTo>
                  <a:pt x="160807" y="47421"/>
                </a:lnTo>
                <a:lnTo>
                  <a:pt x="170268" y="168922"/>
                </a:lnTo>
                <a:lnTo>
                  <a:pt x="214947" y="168922"/>
                </a:lnTo>
                <a:lnTo>
                  <a:pt x="203218" y="47421"/>
                </a:lnTo>
                <a:close/>
              </a:path>
              <a:path w="215264" h="169545">
                <a:moveTo>
                  <a:pt x="198640" y="0"/>
                </a:moveTo>
                <a:lnTo>
                  <a:pt x="143179" y="0"/>
                </a:lnTo>
                <a:lnTo>
                  <a:pt x="108610" y="115150"/>
                </a:lnTo>
                <a:lnTo>
                  <a:pt x="140439" y="115150"/>
                </a:lnTo>
                <a:lnTo>
                  <a:pt x="160807" y="47421"/>
                </a:lnTo>
                <a:lnTo>
                  <a:pt x="203218" y="47421"/>
                </a:lnTo>
                <a:lnTo>
                  <a:pt x="1986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635756" y="7027545"/>
            <a:ext cx="3421888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34670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AE7F4A-550B-4393-80D6-B120AEDDF38C}" type="datetime1">
              <a:rPr lang="en-US" smtClean="0"/>
              <a:t>8/3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699248" y="7027545"/>
            <a:ext cx="2459482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082">
        <a:defRPr>
          <a:latin typeface="+mn-lt"/>
          <a:ea typeface="+mn-ea"/>
          <a:cs typeface="+mn-cs"/>
        </a:defRPr>
      </a:lvl2pPr>
      <a:lvl3pPr marL="914162">
        <a:defRPr>
          <a:latin typeface="+mn-lt"/>
          <a:ea typeface="+mn-ea"/>
          <a:cs typeface="+mn-cs"/>
        </a:defRPr>
      </a:lvl3pPr>
      <a:lvl4pPr marL="1371244">
        <a:defRPr>
          <a:latin typeface="+mn-lt"/>
          <a:ea typeface="+mn-ea"/>
          <a:cs typeface="+mn-cs"/>
        </a:defRPr>
      </a:lvl4pPr>
      <a:lvl5pPr marL="1828327">
        <a:defRPr>
          <a:latin typeface="+mn-lt"/>
          <a:ea typeface="+mn-ea"/>
          <a:cs typeface="+mn-cs"/>
        </a:defRPr>
      </a:lvl5pPr>
      <a:lvl6pPr marL="2285408">
        <a:defRPr>
          <a:latin typeface="+mn-lt"/>
          <a:ea typeface="+mn-ea"/>
          <a:cs typeface="+mn-cs"/>
        </a:defRPr>
      </a:lvl6pPr>
      <a:lvl7pPr marL="2742490">
        <a:defRPr>
          <a:latin typeface="+mn-lt"/>
          <a:ea typeface="+mn-ea"/>
          <a:cs typeface="+mn-cs"/>
        </a:defRPr>
      </a:lvl7pPr>
      <a:lvl8pPr marL="3199570">
        <a:defRPr>
          <a:latin typeface="+mn-lt"/>
          <a:ea typeface="+mn-ea"/>
          <a:cs typeface="+mn-cs"/>
        </a:defRPr>
      </a:lvl8pPr>
      <a:lvl9pPr marL="365665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082">
        <a:defRPr>
          <a:latin typeface="+mn-lt"/>
          <a:ea typeface="+mn-ea"/>
          <a:cs typeface="+mn-cs"/>
        </a:defRPr>
      </a:lvl2pPr>
      <a:lvl3pPr marL="914162">
        <a:defRPr>
          <a:latin typeface="+mn-lt"/>
          <a:ea typeface="+mn-ea"/>
          <a:cs typeface="+mn-cs"/>
        </a:defRPr>
      </a:lvl3pPr>
      <a:lvl4pPr marL="1371244">
        <a:defRPr>
          <a:latin typeface="+mn-lt"/>
          <a:ea typeface="+mn-ea"/>
          <a:cs typeface="+mn-cs"/>
        </a:defRPr>
      </a:lvl4pPr>
      <a:lvl5pPr marL="1828327">
        <a:defRPr>
          <a:latin typeface="+mn-lt"/>
          <a:ea typeface="+mn-ea"/>
          <a:cs typeface="+mn-cs"/>
        </a:defRPr>
      </a:lvl5pPr>
      <a:lvl6pPr marL="2285408">
        <a:defRPr>
          <a:latin typeface="+mn-lt"/>
          <a:ea typeface="+mn-ea"/>
          <a:cs typeface="+mn-cs"/>
        </a:defRPr>
      </a:lvl6pPr>
      <a:lvl7pPr marL="2742490">
        <a:defRPr>
          <a:latin typeface="+mn-lt"/>
          <a:ea typeface="+mn-ea"/>
          <a:cs typeface="+mn-cs"/>
        </a:defRPr>
      </a:lvl7pPr>
      <a:lvl8pPr marL="3199570">
        <a:defRPr>
          <a:latin typeface="+mn-lt"/>
          <a:ea typeface="+mn-ea"/>
          <a:cs typeface="+mn-cs"/>
        </a:defRPr>
      </a:lvl8pPr>
      <a:lvl9pPr marL="3656652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sbank.ru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sbank.ru" TargetMode="External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psbank.ru/Personal/Mortgage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psbank.ru/Personal/Mortgage" TargetMode="Externa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psbank.ru/Personal/Mortgage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psbank.ru/Personal/Mortgage" TargetMode="External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www.psbank.ru/Personal/Mortgage/newaction/rates" TargetMode="Externa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23"/>
          <a:stretch/>
        </p:blipFill>
        <p:spPr>
          <a:xfrm>
            <a:off x="-33020" y="-1270"/>
            <a:ext cx="10693399" cy="75565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79500" y="3473134"/>
            <a:ext cx="868680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егкая ипотека </a:t>
            </a:r>
          </a:p>
          <a:p>
            <a:pPr algn="ctr"/>
            <a:r>
              <a:rPr lang="ru-RU" sz="36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сильных людей</a:t>
            </a:r>
          </a:p>
          <a:p>
            <a:pPr algn="ctr"/>
            <a:endParaRPr lang="en-US" sz="3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" name="psbank.ru">
            <a:hlinkClick r:id="rId3"/>
          </p:cNvPr>
          <p:cNvSpPr txBox="1"/>
          <p:nvPr/>
        </p:nvSpPr>
        <p:spPr>
          <a:xfrm>
            <a:off x="4823012" y="5987895"/>
            <a:ext cx="1199776" cy="351788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59893" tIns="59893" rIns="59893" bIns="59893" anchor="ctr">
            <a:spAutoFit/>
          </a:bodyPr>
          <a:lstStyle>
            <a:lvl1pPr algn="r">
              <a:defRPr sz="2000">
                <a:solidFill>
                  <a:srgbClr val="1E1E8C"/>
                </a:solidFill>
                <a:latin typeface="+mn-lt"/>
                <a:ea typeface="+mn-ea"/>
                <a:cs typeface="+mn-cs"/>
                <a:sym typeface="Verdana"/>
              </a:defRPr>
            </a:lvl1pPr>
          </a:lstStyle>
          <a:p>
            <a:r>
              <a:rPr sz="15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sbank.ru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003554" y="5587785"/>
            <a:ext cx="83869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3294517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Прямая соединительная линия 25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47713" y="273050"/>
            <a:ext cx="3503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арианты субсидий 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500" y="105420"/>
            <a:ext cx="2019239" cy="563742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542969" y="5683250"/>
            <a:ext cx="9724982" cy="990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ru-RU" sz="110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434958" y="5771854"/>
            <a:ext cx="2711637" cy="728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рограмма – </a:t>
            </a:r>
            <a:r>
              <a: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СЕМЕЙНАЯ ИПОТЕКА</a:t>
            </a:r>
          </a:p>
          <a:p>
            <a:pPr marL="17145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роцентная ставка –</a:t>
            </a:r>
            <a:r>
              <a: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4,29%</a:t>
            </a:r>
          </a:p>
          <a:p>
            <a:pPr marL="17145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Срок кредитования – </a:t>
            </a:r>
            <a:r>
              <a: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15 лет</a:t>
            </a:r>
            <a:endParaRPr lang="ru-RU" sz="1100" dirty="0">
              <a:solidFill>
                <a:schemeClr val="tx1">
                  <a:lumMod val="95000"/>
                  <a:lumOff val="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97735" y="1225170"/>
            <a:ext cx="9459837" cy="507973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67380" tIns="67380" rIns="67380" bIns="67380" spcCol="38100" anchor="ctr">
            <a:spAutoFit/>
          </a:bodyPr>
          <a:lstStyle/>
          <a:p>
            <a:pPr algn="ctr" defTabSz="821531" fontAlgn="auto">
              <a:spcBef>
                <a:spcPts val="0"/>
              </a:spcBef>
              <a:spcAft>
                <a:spcPts val="500"/>
              </a:spcAft>
              <a:defRPr/>
            </a:pPr>
            <a:r>
              <a:rPr lang="ru-RU" b="1" dirty="0" smtClean="0"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НА КАЖДЫЕ ВЫДЕЛЕННЫЕ </a:t>
            </a:r>
            <a:r>
              <a:rPr lang="ru-RU" sz="2000" b="1" dirty="0" smtClean="0">
                <a:solidFill>
                  <a:srgbClr val="F26127"/>
                </a:solidFill>
                <a:latin typeface="Gilroy Bold" panose="000008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100 000 000 </a:t>
            </a:r>
            <a:r>
              <a:rPr lang="ru-RU" sz="2000" b="1" dirty="0" smtClean="0">
                <a:solidFill>
                  <a:srgbClr val="F26127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</a:rPr>
              <a:t>₽ </a:t>
            </a:r>
            <a:r>
              <a:rPr lang="ru-RU" sz="2000" b="1" dirty="0" smtClean="0">
                <a:solidFill>
                  <a:srgbClr val="F26127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 </a:t>
            </a:r>
            <a:r>
              <a:rPr lang="ru-RU" b="1" dirty="0"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БЮДЖЕТНЫХ СРЕДСТВ В </a:t>
            </a:r>
            <a:r>
              <a:rPr lang="ru-RU" b="1" dirty="0" smtClean="0"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МЕСЯЦ</a:t>
            </a:r>
            <a:endParaRPr lang="ru-RU" b="1" dirty="0">
              <a:latin typeface="Gilroy SemiBold" panose="00000700000000000000" pitchFamily="50" charset="-52"/>
              <a:ea typeface="Verdana" panose="020B0604030504040204" pitchFamily="34" charset="0"/>
              <a:cs typeface="Helvetica Neue"/>
              <a:sym typeface="Helvetica Neue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42969" y="1090756"/>
            <a:ext cx="9769370" cy="756451"/>
          </a:xfrm>
          <a:prstGeom prst="rect">
            <a:avLst/>
          </a:prstGeom>
          <a:noFill/>
          <a:ln w="19050">
            <a:solidFill>
              <a:srgbClr val="F261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 flipH="1">
            <a:off x="5399048" y="2174450"/>
            <a:ext cx="0" cy="3204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34" name="TextBox 33"/>
          <p:cNvSpPr txBox="1"/>
          <p:nvPr/>
        </p:nvSpPr>
        <p:spPr bwMode="auto">
          <a:xfrm>
            <a:off x="542970" y="2101850"/>
            <a:ext cx="4694409" cy="549653"/>
          </a:xfrm>
          <a:prstGeom prst="rect">
            <a:avLst/>
          </a:prstGeom>
          <a:solidFill>
            <a:srgbClr val="EA5614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200" dirty="0">
                <a:latin typeface="Gilroy" panose="00000500000000000000" pitchFamily="50" charset="-52"/>
                <a:sym typeface="Helvetica Neue" panose="02000806000000020004" pitchFamily="2" charset="-52"/>
              </a:rPr>
              <a:t>СУБСИДИРОВАНИЕ ПЕРВОНАЧАЛЬНОГО ВЗНОСА</a:t>
            </a:r>
          </a:p>
        </p:txBody>
      </p:sp>
      <p:sp>
        <p:nvSpPr>
          <p:cNvPr id="35" name="TextBox 34"/>
          <p:cNvSpPr txBox="1"/>
          <p:nvPr/>
        </p:nvSpPr>
        <p:spPr bwMode="auto">
          <a:xfrm>
            <a:off x="5545057" y="2101851"/>
            <a:ext cx="4767282" cy="549652"/>
          </a:xfrm>
          <a:prstGeom prst="rect">
            <a:avLst/>
          </a:prstGeom>
          <a:solidFill>
            <a:srgbClr val="EA5614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СУБСИДИРОВАНИЕ ЕЖЕМЕСЯЧНОГО ПЛАТЕЖА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5633285" y="5799646"/>
            <a:ext cx="3347391" cy="7284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lvl="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ервоначальный </a:t>
            </a:r>
            <a:r>
              <a:rPr lang="ru-RU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взнос – </a:t>
            </a:r>
            <a:r>
              <a:rPr lang="ru-RU" sz="1100" dirty="0">
                <a:solidFill>
                  <a:prstClr val="black">
                    <a:lumMod val="95000"/>
                    <a:lumOff val="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15</a:t>
            </a:r>
            <a:r>
              <a:rPr lang="ru-RU" sz="11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%</a:t>
            </a:r>
          </a:p>
          <a:p>
            <a:pPr marL="17145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Стоимость объекта недвижимости – </a:t>
            </a:r>
            <a:r>
              <a:rPr lang="ru-RU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2 млн. ₽</a:t>
            </a:r>
          </a:p>
          <a:p>
            <a:pPr marL="171450" indent="-171450">
              <a:spcAft>
                <a:spcPts val="500"/>
              </a:spcAft>
              <a:buClr>
                <a:srgbClr val="2B3494"/>
              </a:buClr>
              <a:buFont typeface="Arial" panose="020B0604020202020204" pitchFamily="34" charset="0"/>
              <a:buChar char="•"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Размер кредита  – </a:t>
            </a:r>
            <a:r>
              <a:rPr lang="ru-RU" sz="1100" dirty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1,7 млн. </a:t>
            </a:r>
            <a:r>
              <a: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₽</a:t>
            </a:r>
            <a:endParaRPr lang="ru-RU" sz="1100" dirty="0">
              <a:solidFill>
                <a:schemeClr val="tx1">
                  <a:lumMod val="95000"/>
                  <a:lumOff val="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39431" y="7158851"/>
            <a:ext cx="23519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500"/>
              </a:spcAft>
              <a:buClr>
                <a:srgbClr val="2B3494"/>
              </a:buClr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*</a:t>
            </a:r>
            <a:r>
              <a:rPr lang="ru-RU" sz="11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 25% от ежемесячного платежа</a:t>
            </a:r>
            <a:endParaRPr lang="ru-RU" sz="1100" dirty="0">
              <a:solidFill>
                <a:schemeClr val="tx1">
                  <a:lumMod val="95000"/>
                  <a:lumOff val="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24300" y="5796471"/>
            <a:ext cx="550240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 smtClean="0">
                <a:solidFill>
                  <a:srgbClr val="2B3494"/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РАСЧЕТНЫЕ </a:t>
            </a:r>
            <a:r>
              <a:rPr lang="ru-RU" sz="1100" dirty="0">
                <a:solidFill>
                  <a:srgbClr val="2B3494"/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Д</a:t>
            </a:r>
            <a:r>
              <a:rPr lang="ru-RU" sz="1100" dirty="0" smtClean="0">
                <a:solidFill>
                  <a:srgbClr val="2B3494"/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АННЫЕ:</a:t>
            </a:r>
            <a:endParaRPr lang="ru-RU" sz="1100" dirty="0">
              <a:solidFill>
                <a:srgbClr val="2B3494"/>
              </a:solidFill>
              <a:latin typeface="Gilroy" panose="000005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186512" y="3549755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2000" dirty="0" smtClean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00 000 ₽</a:t>
            </a:r>
            <a:endParaRPr lang="ru-RU" sz="2000" dirty="0">
              <a:solidFill>
                <a:srgbClr val="EA5614"/>
              </a:solidFill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64649" y="3549755"/>
            <a:ext cx="1440000" cy="1800000"/>
          </a:xfrm>
          <a:prstGeom prst="rect">
            <a:avLst/>
          </a:prstGeom>
          <a:solidFill>
            <a:srgbClr val="2B2C84"/>
          </a:solidFill>
        </p:spPr>
        <p:txBody>
          <a:bodyPr wrap="square" lIns="72000" rIns="72000" anchor="ctr">
            <a:noAutofit/>
          </a:bodyPr>
          <a:lstStyle/>
          <a:p>
            <a:pPr algn="ctr" defTabSz="914400"/>
            <a:r>
              <a:rPr lang="ru-RU" sz="2000" b="1" kern="0" dirty="0" smtClean="0">
                <a:solidFill>
                  <a:srgbClr val="FFFFFF"/>
                </a:solidFill>
                <a:latin typeface="Gilroy SemiBold" panose="00000700000000000000" pitchFamily="50" charset="-52"/>
                <a:ea typeface="Verdana" panose="020B0604030504040204" pitchFamily="34" charset="0"/>
              </a:rPr>
              <a:t>333</a:t>
            </a:r>
            <a:endParaRPr lang="ru-RU" sz="2000" b="1" kern="0" dirty="0">
              <a:solidFill>
                <a:srgbClr val="FFFFFF"/>
              </a:solidFill>
              <a:latin typeface="Gilroy SemiBold" panose="000007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471429" y="2880747"/>
            <a:ext cx="16215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КОЛИЧЕСТВО РАБОТНИКОВ В МЕСЯЦ, КОТОРЫЕ МОГУТ ВОСПОЛЬЗОВАТЬСЯ СУБСИДИЕЙ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 bwMode="auto">
          <a:xfrm>
            <a:off x="3805940" y="2880973"/>
            <a:ext cx="144449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РАЗМЕР СУБСИДИИ – МИНИМАЛЬНЫЙ РАЗМЕР ПЕРВОНАЧАЛЬНОГО ВЗНОСА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783012" y="3549755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</a:p>
        </p:txBody>
      </p:sp>
      <p:sp>
        <p:nvSpPr>
          <p:cNvPr id="44" name="TextBox 43"/>
          <p:cNvSpPr txBox="1"/>
          <p:nvPr/>
        </p:nvSpPr>
        <p:spPr bwMode="auto">
          <a:xfrm>
            <a:off x="2198886" y="3006051"/>
            <a:ext cx="144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РАЗМЕР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СУБСИДИИ НА ОДНОГО РАБОТНИКА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7181983" y="3563028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2000" dirty="0" smtClean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8 622 ₽</a:t>
            </a:r>
            <a:endParaRPr lang="ru-RU" sz="2000" dirty="0">
              <a:solidFill>
                <a:srgbClr val="EA5614"/>
              </a:solidFill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560718" y="3561698"/>
            <a:ext cx="1440000" cy="1800000"/>
          </a:xfrm>
          <a:prstGeom prst="rect">
            <a:avLst/>
          </a:prstGeom>
          <a:solidFill>
            <a:srgbClr val="2B2C84"/>
          </a:solidFill>
        </p:spPr>
        <p:txBody>
          <a:bodyPr wrap="square" lIns="72000" rIns="72000" anchor="ctr">
            <a:noAutofit/>
          </a:bodyPr>
          <a:lstStyle/>
          <a:p>
            <a:pPr algn="ctr" defTabSz="914400"/>
            <a:r>
              <a:rPr lang="ru-RU" sz="2000" b="1" kern="0" dirty="0" smtClean="0">
                <a:solidFill>
                  <a:srgbClr val="FFFFFF"/>
                </a:solidFill>
                <a:latin typeface="Gilroy SemiBold" panose="00000700000000000000" pitchFamily="50" charset="-52"/>
                <a:ea typeface="Verdana" panose="020B0604030504040204" pitchFamily="34" charset="0"/>
              </a:rPr>
              <a:t>2 589</a:t>
            </a:r>
            <a:endParaRPr lang="ru-RU" sz="2000" b="1" kern="0" dirty="0">
              <a:solidFill>
                <a:srgbClr val="FFFFFF"/>
              </a:solidFill>
              <a:latin typeface="Gilroy SemiBold" panose="000007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 bwMode="auto">
          <a:xfrm>
            <a:off x="5487414" y="2880747"/>
            <a:ext cx="162652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buClr>
                <a:schemeClr val="accent5"/>
              </a:buClr>
            </a:pP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КОЛИЧЕСТВО РАБОТНИКОВ, КОТОРЫЕ МОГУТ ПОЛУЧАТЬ СУБСИДИЮ В ТЕЧЕНИЕ</a:t>
            </a:r>
          </a:p>
          <a:p>
            <a:pPr algn="ctr">
              <a:buClr>
                <a:schemeClr val="accent5"/>
              </a:buClr>
            </a:pP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12 МЕСЯЦЕВ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 bwMode="auto">
          <a:xfrm>
            <a:off x="8777848" y="3012151"/>
            <a:ext cx="15101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ctr">
              <a:defRPr/>
            </a:pP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РАЗМЕР ЕЖЕМЕСЯЧНОГО ПЛАТЕЖА ПО КРЕДИТУ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8827951" y="3561698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2000" dirty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2 </a:t>
            </a:r>
            <a:r>
              <a:rPr lang="ru-RU" sz="2000" dirty="0" smtClean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874 </a:t>
            </a:r>
            <a:r>
              <a:rPr lang="ru-RU" sz="2000" dirty="0">
                <a:solidFill>
                  <a:srgbClr val="2B2C84"/>
                </a:solidFill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₽</a:t>
            </a:r>
            <a:endParaRPr lang="ru-RU" sz="2000" dirty="0">
              <a:solidFill>
                <a:srgbClr val="EA5614"/>
              </a:solidFill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 bwMode="auto">
          <a:xfrm>
            <a:off x="7202307" y="2894020"/>
            <a:ext cx="1354157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algn="ctr">
              <a:buClr>
                <a:srgbClr val="4BACC6"/>
              </a:buClr>
            </a:pP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РАЗМЕР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</a:rPr>
              <a:t>СУБСИДИИ НА ОДНОГО РАБОТНИКА ЗА  12 МЕСЯЦЕВ</a:t>
            </a:r>
            <a:r>
              <a:rPr lang="ru-RU" sz="9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 </a:t>
            </a:r>
            <a:r>
              <a:rPr lang="ru-RU" sz="900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Gilroy" panose="00000500000000000000" pitchFamily="50" charset="-52"/>
                <a:ea typeface="Verdana" panose="020B0604030504040204" pitchFamily="34" charset="0"/>
              </a:rPr>
              <a:t>*</a:t>
            </a:r>
            <a:endParaRPr lang="ru-RU" sz="900" dirty="0">
              <a:solidFill>
                <a:prstClr val="black">
                  <a:lumMod val="95000"/>
                  <a:lumOff val="5000"/>
                </a:prstClr>
              </a:solidFill>
              <a:latin typeface="Gilroy" panose="00000500000000000000" pitchFamily="50" charset="-52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4227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ложение</a:t>
            </a:r>
            <a:endParaRPr lang="ru-RU" sz="14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 rot="5400000">
            <a:off x="5225555" y="527019"/>
            <a:ext cx="1434762" cy="82563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54013" indent="-1714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986463" y="1101725"/>
            <a:ext cx="8160712" cy="6087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kern="1200" dirty="0">
                <a:solidFill>
                  <a:srgbClr val="2E2F8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целях предоставления льготной ипотеки для работников предприятий ОПК предлагается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ть </a:t>
            </a:r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грамму субсидирования процентной ставки 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31825" y="2101850"/>
            <a:ext cx="1356869" cy="1757243"/>
          </a:xfrm>
          <a:prstGeom prst="rect">
            <a:avLst/>
          </a:prstGeom>
          <a:solidFill>
            <a:srgbClr val="2B2C84"/>
          </a:solidFill>
        </p:spPr>
        <p:txBody>
          <a:bodyPr wrap="square" lIns="72000" rIns="7200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Описание субсиди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064599" y="2253524"/>
            <a:ext cx="1377670" cy="229326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Инструмент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64599" y="2707101"/>
            <a:ext cx="1958928" cy="28057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олучатель субсиди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064599" y="3016603"/>
            <a:ext cx="2139101" cy="41874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олучатели льготного финансирова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480863" y="2703971"/>
            <a:ext cx="2244718" cy="23873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3D7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Опорный банк ОПК</a:t>
            </a:r>
            <a:endParaRPr kumimoji="0" lang="ru-RU" sz="11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480863" y="3078704"/>
            <a:ext cx="54451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7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аботники предприятий оборонно-промышленного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комплекса 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079100" y="2673350"/>
            <a:ext cx="7992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ysDot"/>
            <a:miter lim="800000"/>
            <a:tailEnd type="none"/>
          </a:ln>
          <a:effectLst/>
        </p:spPr>
      </p:cxnSp>
      <p:cxnSp>
        <p:nvCxnSpPr>
          <p:cNvPr id="17" name="Прямая соединительная линия 16"/>
          <p:cNvCxnSpPr/>
          <p:nvPr/>
        </p:nvCxnSpPr>
        <p:spPr>
          <a:xfrm>
            <a:off x="2079100" y="2993867"/>
            <a:ext cx="7992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ysDot"/>
            <a:miter lim="800000"/>
            <a:tailEnd type="none"/>
          </a:ln>
          <a:effectLst/>
        </p:spPr>
      </p:cxnSp>
      <p:sp>
        <p:nvSpPr>
          <p:cNvPr id="18" name="Прямоугольник 17"/>
          <p:cNvSpPr/>
          <p:nvPr/>
        </p:nvSpPr>
        <p:spPr>
          <a:xfrm>
            <a:off x="633777" y="5454650"/>
            <a:ext cx="1354621" cy="138592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rIns="7200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Получение субсид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480863" y="2149475"/>
            <a:ext cx="55902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7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sym typeface="Akzidenz-Grotesk Pro Regular"/>
              </a:rPr>
              <a:t>Ипотечный кредит Банка субсидируется за счет комиссионного вознаграждения от предприятий ОПК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sym typeface="Akzidenz-Grotesk Pro Regular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068051" y="3866116"/>
            <a:ext cx="7992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21" name="Прямая соединительная линия 23">
            <a:extLst>
              <a:ext uri="{FF2B5EF4-FFF2-40B4-BE49-F238E27FC236}">
                <a16:creationId xmlns:a16="http://schemas.microsoft.com/office/drawing/2014/main" id="{84332AE9-B4A5-4832-A847-0A0E50DE8011}"/>
              </a:ext>
            </a:extLst>
          </p:cNvPr>
          <p:cNvCxnSpPr>
            <a:cxnSpLocks/>
          </p:cNvCxnSpPr>
          <p:nvPr/>
        </p:nvCxnSpPr>
        <p:spPr>
          <a:xfrm>
            <a:off x="2070100" y="2111375"/>
            <a:ext cx="7992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22" name="Прямоугольник 21"/>
          <p:cNvSpPr/>
          <p:nvPr/>
        </p:nvSpPr>
        <p:spPr>
          <a:xfrm>
            <a:off x="2064599" y="5824444"/>
            <a:ext cx="79442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7A"/>
              </a:buClr>
              <a:buSzTx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убсидирование недополученного дохода по кредиту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-  комиссионное вознаграждение предоставляется кредитной организации от предприятия ОПК и рассчитывается как % от портфеля ипотечных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кредитов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аботникам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(на регулярной основе (ежемесячно/ежеквартально)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2079100" y="3473450"/>
            <a:ext cx="7992000" cy="0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50000"/>
              </a:srgbClr>
            </a:solidFill>
            <a:prstDash val="sysDot"/>
            <a:miter lim="800000"/>
            <a:tailEnd type="none"/>
          </a:ln>
          <a:effectLst/>
        </p:spPr>
      </p:cxnSp>
      <p:sp>
        <p:nvSpPr>
          <p:cNvPr id="24" name="Прямоугольник 23"/>
          <p:cNvSpPr/>
          <p:nvPr/>
        </p:nvSpPr>
        <p:spPr>
          <a:xfrm>
            <a:off x="2064599" y="3549650"/>
            <a:ext cx="2139101" cy="3603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роки финансирования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480863" y="3520301"/>
            <a:ext cx="148271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D7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о 25 лет</a:t>
            </a:r>
          </a:p>
        </p:txBody>
      </p:sp>
      <p:cxnSp>
        <p:nvCxnSpPr>
          <p:cNvPr id="26" name="Прямая соединительная линия 23">
            <a:extLst>
              <a:ext uri="{FF2B5EF4-FFF2-40B4-BE49-F238E27FC236}">
                <a16:creationId xmlns:a16="http://schemas.microsoft.com/office/drawing/2014/main" id="{84332AE9-B4A5-4832-A847-0A0E50DE8011}"/>
              </a:ext>
            </a:extLst>
          </p:cNvPr>
          <p:cNvCxnSpPr>
            <a:cxnSpLocks/>
          </p:cNvCxnSpPr>
          <p:nvPr/>
        </p:nvCxnSpPr>
        <p:spPr>
          <a:xfrm>
            <a:off x="2055070" y="6827871"/>
            <a:ext cx="7992000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27" name="Прямоугольник 26"/>
          <p:cNvSpPr/>
          <p:nvPr/>
        </p:nvSpPr>
        <p:spPr>
          <a:xfrm>
            <a:off x="633777" y="3937799"/>
            <a:ext cx="1354621" cy="1440651"/>
          </a:xfrm>
          <a:prstGeom prst="rect">
            <a:avLst/>
          </a:prstGeom>
          <a:solidFill>
            <a:srgbClr val="EA5614"/>
          </a:solidFill>
        </p:spPr>
        <p:txBody>
          <a:bodyPr wrap="square" lIns="36000" rIns="3600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асчетная сумма выдач</a:t>
            </a:r>
            <a:r>
              <a:rPr kumimoji="0" lang="ru-RU" sz="120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кредитов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и субсидии</a:t>
            </a: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2068051" y="5474101"/>
            <a:ext cx="8003049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29" name="TextBox 28"/>
          <p:cNvSpPr txBox="1"/>
          <p:nvPr/>
        </p:nvSpPr>
        <p:spPr bwMode="auto">
          <a:xfrm>
            <a:off x="4313908" y="4035156"/>
            <a:ext cx="24998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  <a:cs typeface="Helvetica Neue"/>
              </a:rPr>
              <a:t>р</a:t>
            </a: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  <a:cs typeface="Helvetica Neue"/>
              </a:rPr>
              <a:t>асходы</a:t>
            </a:r>
            <a:r>
              <a:rPr lang="ru-RU" sz="1200" kern="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на сотрудника</a:t>
            </a:r>
          </a:p>
        </p:txBody>
      </p:sp>
      <p:sp>
        <p:nvSpPr>
          <p:cNvPr id="30" name="Прямоугольник 29"/>
          <p:cNvSpPr/>
          <p:nvPr>
            <p:custDataLst>
              <p:tags r:id="rId1"/>
            </p:custDataLst>
          </p:nvPr>
        </p:nvSpPr>
        <p:spPr bwMode="auto">
          <a:xfrm>
            <a:off x="2224745" y="3998188"/>
            <a:ext cx="1011238" cy="122238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1">
                    <a:lumMod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2">
              <a:spcBef>
                <a:spcPct val="0"/>
              </a:spcBef>
              <a:spcAft>
                <a:spcPct val="0"/>
              </a:spcAft>
            </a:pPr>
            <a:endParaRPr lang="ru-RU" sz="8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TextBox 31"/>
          <p:cNvSpPr txBox="1"/>
          <p:nvPr/>
        </p:nvSpPr>
        <p:spPr bwMode="auto">
          <a:xfrm>
            <a:off x="2452615" y="4672690"/>
            <a:ext cx="101846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0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lang="ru-RU" sz="20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962998" y="3878780"/>
            <a:ext cx="2256118" cy="505408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spcFirstLastPara="1" wrap="square" lIns="67380" tIns="67380" rIns="67380" bIns="67380" spcCol="38100" anchor="ctr">
            <a:spAutoFit/>
          </a:bodyPr>
          <a:lstStyle/>
          <a:p>
            <a:pPr marL="0" marR="0" lvl="0" indent="0" algn="ctr" defTabSz="821531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к</a:t>
            </a: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омпенсация ежемесячного платежа</a:t>
            </a:r>
            <a:endParaRPr kumimoji="0" lang="ru-RU" sz="105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Helvetica Neue"/>
              <a:sym typeface="Helvetica Neue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23188" y="1044136"/>
            <a:ext cx="9447912" cy="754063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 bwMode="auto">
          <a:xfrm>
            <a:off x="7632700" y="4666931"/>
            <a:ext cx="17526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4</a:t>
            </a:r>
            <a:r>
              <a:rPr lang="ru-RU" sz="2200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2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лн </a:t>
            </a:r>
            <a:r>
              <a:rPr lang="ru-RU" sz="22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уб</a:t>
            </a:r>
            <a:r>
              <a:rPr lang="ru-RU" sz="12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083191" y="3957089"/>
            <a:ext cx="2674281" cy="320742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txBody>
          <a:bodyPr spcFirstLastPara="1" wrap="square" lIns="67380" tIns="67380" rIns="67380" bIns="67380" spcCol="38100" anchor="ctr">
            <a:spAutoFit/>
          </a:bodyPr>
          <a:lstStyle/>
          <a:p>
            <a:pPr marL="0" marR="0" lvl="0" indent="0" algn="ctr" defTabSz="821531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с</a:t>
            </a:r>
            <a:r>
              <a:rPr kumimoji="0" lang="ru-RU" sz="1200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тоимость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 квартиры</a:t>
            </a:r>
            <a:endParaRPr kumimoji="0" lang="ru-RU" sz="105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Helvetica Neue"/>
              <a:sym typeface="Helvetica Neue"/>
            </a:endParaRPr>
          </a:p>
        </p:txBody>
      </p:sp>
      <p:sp>
        <p:nvSpPr>
          <p:cNvPr id="36" name="TextBox 35"/>
          <p:cNvSpPr txBox="1"/>
          <p:nvPr/>
        </p:nvSpPr>
        <p:spPr bwMode="auto">
          <a:xfrm>
            <a:off x="4584849" y="4994473"/>
            <a:ext cx="21407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0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7 200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у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. в </a:t>
            </a:r>
            <a:r>
              <a:rPr lang="ru-RU" sz="1200" b="1" kern="0" dirty="0" err="1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с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 bwMode="auto">
          <a:xfrm>
            <a:off x="2445085" y="4981594"/>
            <a:ext cx="102599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50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2445085" y="4391791"/>
            <a:ext cx="1018466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0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</a:t>
            </a: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%</a:t>
            </a:r>
          </a:p>
        </p:txBody>
      </p:sp>
      <p:sp>
        <p:nvSpPr>
          <p:cNvPr id="40" name="TextBox 39"/>
          <p:cNvSpPr txBox="1"/>
          <p:nvPr/>
        </p:nvSpPr>
        <p:spPr bwMode="auto">
          <a:xfrm>
            <a:off x="4584849" y="4683976"/>
            <a:ext cx="21407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0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 600 </a:t>
            </a:r>
            <a:r>
              <a:rPr kumimoji="0" lang="ru-RU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у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. в </a:t>
            </a:r>
            <a:r>
              <a:rPr lang="ru-RU" sz="1200" b="1" kern="0" dirty="0" err="1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с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 bwMode="auto">
          <a:xfrm>
            <a:off x="4584849" y="4385240"/>
            <a:ext cx="21407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40000"/>
              </a:buClr>
              <a:buSzTx/>
              <a:buFontTx/>
              <a:buNone/>
              <a:tabLst/>
              <a:defRPr/>
            </a:pPr>
            <a:r>
              <a:rPr lang="ru-RU" sz="20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 400</a:t>
            </a:r>
            <a:r>
              <a:rPr kumimoji="0" lang="ru-RU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ru-RU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ру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б. в </a:t>
            </a:r>
            <a:r>
              <a:rPr lang="ru-RU" sz="1200" b="1" kern="0" dirty="0" err="1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мес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536" y="133944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803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23"/>
          <a:stretch/>
        </p:blipFill>
        <p:spPr>
          <a:xfrm>
            <a:off x="1" y="0"/>
            <a:ext cx="10693399" cy="7556500"/>
          </a:xfrm>
          <a:prstGeom prst="rect">
            <a:avLst/>
          </a:prstGeom>
        </p:spPr>
      </p:pic>
      <p:sp>
        <p:nvSpPr>
          <p:cNvPr id="15" name="psbank.ru">
            <a:hlinkClick r:id="rId3"/>
          </p:cNvPr>
          <p:cNvSpPr txBox="1"/>
          <p:nvPr/>
        </p:nvSpPr>
        <p:spPr>
          <a:xfrm>
            <a:off x="5575300" y="3017739"/>
            <a:ext cx="3962400" cy="16598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59893" tIns="59893" rIns="59893" bIns="59893" anchor="ctr">
            <a:spAutoFit/>
          </a:bodyPr>
          <a:lstStyle>
            <a:lvl1pPr algn="r">
              <a:defRPr sz="2000">
                <a:solidFill>
                  <a:srgbClr val="1E1E8C"/>
                </a:solidFill>
                <a:latin typeface="+mn-lt"/>
                <a:ea typeface="+mn-ea"/>
                <a:cs typeface="+mn-cs"/>
                <a:sym typeface="Verdana"/>
              </a:defRPr>
            </a:lvl1pPr>
          </a:lstStyle>
          <a:p>
            <a:pPr algn="l"/>
            <a:r>
              <a:rPr lang="ru-RU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словия кредитования по  программам:</a:t>
            </a:r>
          </a:p>
          <a:p>
            <a:pPr algn="l"/>
            <a:r>
              <a:rPr lang="ru-RU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емейная ипотека Господдержка 2020 Военная ипотека </a:t>
            </a:r>
            <a:endParaRPr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422900" y="1797050"/>
            <a:ext cx="0" cy="4343400"/>
          </a:xfrm>
          <a:prstGeom prst="line">
            <a:avLst/>
          </a:prstGeom>
          <a:ln w="28575"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620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0" r="41527"/>
          <a:stretch/>
        </p:blipFill>
        <p:spPr>
          <a:xfrm>
            <a:off x="5956300" y="1035052"/>
            <a:ext cx="4113274" cy="5852131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696974" y="654050"/>
            <a:ext cx="9372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83697" y="196850"/>
            <a:ext cx="67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rgbClr val="2B2C8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Ипотека с государственной поддержкой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20" y="-3175"/>
            <a:ext cx="2929424" cy="797591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3300136" y="4084498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10986" y="4079331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289302" y="2415423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523407" y="4153768"/>
            <a:ext cx="1905059" cy="1202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ервоначальный взнос – от </a:t>
            </a:r>
            <a:r>
              <a:rPr lang="ru-RU" sz="10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  <a:endParaRPr lang="ru-RU" sz="1050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522205" y="2746821"/>
            <a:ext cx="1922224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0 </a:t>
            </a:r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лет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рок кредитования – до </a:t>
            </a:r>
            <a:r>
              <a:rPr lang="ru-RU" sz="10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0 </a:t>
            </a:r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лет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81487" y="4251744"/>
            <a:ext cx="1905059" cy="1260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2</a:t>
            </a:r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млн</a:t>
            </a:r>
            <a:r>
              <a:rPr lang="ru-RU" sz="4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ый размер кредита </a:t>
            </a:r>
            <a:r>
              <a:rPr lang="ru-RU" sz="10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*</a:t>
            </a:r>
            <a:endParaRPr lang="ru-RU" sz="1050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829639"/>
            <a:endParaRPr lang="ru-RU" sz="1089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object 27"/>
          <p:cNvSpPr txBox="1"/>
          <p:nvPr/>
        </p:nvSpPr>
        <p:spPr>
          <a:xfrm>
            <a:off x="674583" y="867854"/>
            <a:ext cx="43284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26" marR="4610" indent="-11526" defTabSz="829639"/>
            <a: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емейная </a:t>
            </a:r>
            <a:r>
              <a:rPr lang="ru-RU" sz="1600" b="1" dirty="0" smtClean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ипотека и </a:t>
            </a:r>
            <a:r>
              <a:rPr lang="ru-RU" sz="1600" b="1" dirty="0" smtClean="0">
                <a:solidFill>
                  <a:srgbClr val="EA561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Рефинансирование </a:t>
            </a:r>
          </a:p>
          <a:p>
            <a:pPr marL="11526" marR="4610" indent="-11526" defTabSz="829639"/>
            <a:r>
              <a:rPr lang="ru-RU" sz="1600" dirty="0" smtClean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о </a:t>
            </a:r>
            <a:r>
              <a:rPr lang="ru-RU" sz="16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рограмме Семейная ипотека</a:t>
            </a:r>
            <a:r>
              <a:rPr lang="ru-RU" sz="1600" dirty="0" smtClean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</a:p>
          <a:p>
            <a:pPr marL="11526" marR="4610" indent="-11526" defTabSz="829639"/>
            <a:endParaRPr lang="en-US" sz="1600" b="1" dirty="0"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26" marR="4610" indent="-11526" algn="just" defTabSz="829639">
              <a:spcAft>
                <a:spcPts val="454"/>
              </a:spcAft>
            </a:pP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Решение квартирного </a:t>
            </a:r>
            <a:r>
              <a:rPr lang="ru-RU" sz="1400" dirty="0" smtClean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вопроса семей, в которых </a:t>
            </a: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 1 января 2018 года по 31 декабря 2022 года </a:t>
            </a:r>
            <a:r>
              <a:rPr lang="ru-RU" sz="1400" dirty="0" smtClean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роизошло пополнение (</a:t>
            </a: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родился ребенок</a:t>
            </a:r>
            <a:r>
              <a:rPr lang="ru-RU" sz="1400" dirty="0" smtClean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706591" y="2406650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от </a:t>
            </a:r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4,29</a:t>
            </a:r>
            <a:r>
              <a:rPr lang="en-US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*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27064" y="6064250"/>
            <a:ext cx="49936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29639"/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*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ая сумма кредита 12 млн руб. для Москвы, Московской обл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., Санкт-Петербурга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и Ленинградской обл.; 6 млн руб. – для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остальных регионов</a:t>
            </a:r>
            <a:endParaRPr lang="ru-RU" sz="9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53724" y="5607050"/>
            <a:ext cx="500975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 Процентная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4,29%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довых применяется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для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работников оборонно-промышленного комплекса, являющихся зарплатными клиентами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СБ.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Для остальных категорий клиентов 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– 4,85%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14364" y="6413640"/>
            <a:ext cx="48468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кредитования действительны по состоянию н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.07.2021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по программам ипотечного кредитования по ссылке </a:t>
            </a: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  <a:hlinkClick r:id="rId4"/>
              </a:rPr>
              <a:t>https://www.psbank.ru/Personal/Mortgage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endParaRPr lang="ru-RU" sz="9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42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мейная </a:t>
            </a:r>
            <a:r>
              <a:rPr lang="ru-RU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потека</a:t>
            </a:r>
            <a:r>
              <a:rPr lang="en-US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 </a:t>
            </a:r>
            <a:r>
              <a:rPr lang="ru-RU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ловия</a:t>
            </a:r>
            <a:endParaRPr lang="ru-RU" sz="14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969133" y="1041521"/>
            <a:ext cx="4109936" cy="59371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bject 7"/>
          <p:cNvSpPr txBox="1"/>
          <p:nvPr/>
        </p:nvSpPr>
        <p:spPr>
          <a:xfrm>
            <a:off x="1003567" y="4336348"/>
            <a:ext cx="4585324" cy="240065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894" algn="just"/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ражданство и регистрация  –</a:t>
            </a:r>
          </a:p>
          <a:p>
            <a:pPr marL="88894" algn="just"/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Ф, постоянная регистрация, или фактическое место жительства, или постоянное место работы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убъекте РФ, в котором расположено подразделение Банка</a:t>
            </a:r>
          </a:p>
          <a:p>
            <a:pPr marL="88894" algn="just"/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</a:p>
          <a:p>
            <a:pPr marL="88894" algn="just"/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зраст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– от 21 до 65 лет</a:t>
            </a:r>
          </a:p>
          <a:p>
            <a:pPr marL="88894" algn="just"/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8894" algn="just"/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бщий трудовой стаж </a:t>
            </a:r>
          </a:p>
          <a:p>
            <a:pPr marL="88894" algn="just"/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йму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е менее 1 года, стаж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леднем месте работы не менее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месяцев</a:t>
            </a:r>
          </a:p>
          <a:p>
            <a:pPr marL="88894" algn="just"/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88894" algn="just"/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регулированные взаимоотношения с призывными 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рганами до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7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лет</a:t>
            </a:r>
          </a:p>
        </p:txBody>
      </p:sp>
      <p:sp>
        <p:nvSpPr>
          <p:cNvPr id="9" name="object 8"/>
          <p:cNvSpPr txBox="1"/>
          <p:nvPr/>
        </p:nvSpPr>
        <p:spPr>
          <a:xfrm>
            <a:off x="6124698" y="3016250"/>
            <a:ext cx="3942760" cy="16773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12700">
              <a:tabLst>
                <a:tab pos="1740535" algn="l"/>
              </a:tabLst>
              <a:defRPr sz="1200" spc="-25">
                <a:solidFill>
                  <a:srgbClr val="002060"/>
                </a:solidFill>
                <a:latin typeface="Arial Narrow" panose="020B0606020202030204" pitchFamily="34" charset="0"/>
                <a:cs typeface="Calibri"/>
              </a:defRPr>
            </a:lvl1pPr>
          </a:lstStyle>
          <a:p>
            <a:pPr marL="266065" indent="-171439" defTabSz="1009341">
              <a:spcAft>
                <a:spcPts val="1500"/>
              </a:spcAft>
              <a:buClr>
                <a:srgbClr val="EA5614"/>
              </a:buClr>
              <a:buFont typeface="Wingdings" panose="05000000000000000000" pitchFamily="2" charset="2"/>
              <a:buChar char="§"/>
              <a:tabLst>
                <a:tab pos="1921253" algn="l"/>
              </a:tabLst>
            </a:pP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аспорт РФ</a:t>
            </a:r>
            <a:r>
              <a:rPr lang="ru-RU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паспорт иностранного  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ражданина (для  </a:t>
            </a:r>
            <a:r>
              <a:rPr lang="ru-RU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озаемщиков</a:t>
            </a:r>
            <a:r>
              <a:rPr lang="ru-RU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</a:p>
          <a:p>
            <a:pPr marL="266065" indent="-171439" defTabSz="1009341">
              <a:spcAft>
                <a:spcPts val="1500"/>
              </a:spcAft>
              <a:buClr>
                <a:srgbClr val="EA5614"/>
              </a:buClr>
              <a:buFont typeface="Wingdings" panose="05000000000000000000" pitchFamily="2" charset="2"/>
              <a:buChar char="§"/>
              <a:tabLst>
                <a:tab pos="1921253" algn="l"/>
              </a:tabLst>
            </a:pPr>
            <a:r>
              <a:rPr b="1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кумент</a:t>
            </a:r>
            <a:r>
              <a:rPr lang="ru-RU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п</a:t>
            </a:r>
            <a:r>
              <a:rPr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дтверждающий </a:t>
            </a:r>
            <a:r>
              <a:rPr lang="en-US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мейное</a:t>
            </a:r>
            <a:r>
              <a:rPr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ложение</a:t>
            </a:r>
            <a:r>
              <a:rPr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 </a:t>
            </a:r>
            <a: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идетельство</a:t>
            </a:r>
            <a:r>
              <a:rPr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 </a:t>
            </a:r>
            <a:r>
              <a:rPr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ключении</a:t>
            </a:r>
            <a:r>
              <a:rPr lang="ru-RU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/</a:t>
            </a:r>
            <a:r>
              <a:rPr lang="ru-RU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сторжении</a:t>
            </a:r>
            <a:r>
              <a:rPr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рака</a:t>
            </a:r>
            <a:r>
              <a:rPr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)</a:t>
            </a:r>
            <a:endParaRPr lang="ru-RU" dirty="0" smtClean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266065" indent="-171439" defTabSz="1009341">
              <a:spcAft>
                <a:spcPts val="1500"/>
              </a:spcAft>
              <a:buClr>
                <a:srgbClr val="EA5614"/>
              </a:buClr>
              <a:buFont typeface="Wingdings" panose="05000000000000000000" pitchFamily="2" charset="2"/>
              <a:buChar char="§"/>
              <a:tabLst>
                <a:tab pos="1921253" algn="l"/>
              </a:tabLst>
            </a:pPr>
            <a:r>
              <a:rPr lang="ru-RU" b="1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видетельства о рождении детей</a:t>
            </a:r>
            <a:endParaRPr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26"/>
          <p:cNvSpPr txBox="1">
            <a:spLocks/>
          </p:cNvSpPr>
          <p:nvPr/>
        </p:nvSpPr>
        <p:spPr>
          <a:xfrm>
            <a:off x="612775" y="3922632"/>
            <a:ext cx="2920384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defRPr sz="2050" b="1" i="0">
                <a:solidFill>
                  <a:srgbClr val="0D4BA0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marL="14019" marR="5608" defTabSz="1009341"/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ребования к клиентам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26"/>
          <p:cNvSpPr txBox="1">
            <a:spLocks/>
          </p:cNvSpPr>
          <p:nvPr/>
        </p:nvSpPr>
        <p:spPr>
          <a:xfrm>
            <a:off x="7356336" y="2360965"/>
            <a:ext cx="1315194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defRPr sz="2050" b="1" i="0">
                <a:solidFill>
                  <a:srgbClr val="0D4BA0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marL="14019" marR="5608" defTabSz="1009341"/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кументы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5" y="4217815"/>
            <a:ext cx="518230" cy="51823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5" y="5073650"/>
            <a:ext cx="518230" cy="518230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5" y="5464175"/>
            <a:ext cx="518230" cy="51823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645" y="6231820"/>
            <a:ext cx="518230" cy="518230"/>
          </a:xfrm>
          <a:prstGeom prst="rect">
            <a:avLst/>
          </a:prstGeom>
        </p:spPr>
      </p:pic>
      <p:grpSp>
        <p:nvGrpSpPr>
          <p:cNvPr id="16" name="Группа 15"/>
          <p:cNvGrpSpPr/>
          <p:nvPr/>
        </p:nvGrpSpPr>
        <p:grpSpPr>
          <a:xfrm>
            <a:off x="7638267" y="1492250"/>
            <a:ext cx="710247" cy="723900"/>
            <a:chOff x="10929502" y="930625"/>
            <a:chExt cx="710247" cy="723900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29502" y="930625"/>
              <a:ext cx="704149" cy="704149"/>
            </a:xfrm>
            <a:prstGeom prst="rect">
              <a:avLst/>
            </a:prstGeom>
          </p:spPr>
        </p:pic>
        <p:sp>
          <p:nvSpPr>
            <p:cNvPr id="18" name="Овал 17"/>
            <p:cNvSpPr/>
            <p:nvPr/>
          </p:nvSpPr>
          <p:spPr>
            <a:xfrm>
              <a:off x="10935600" y="950376"/>
              <a:ext cx="704149" cy="704149"/>
            </a:xfrm>
            <a:prstGeom prst="ellipse">
              <a:avLst/>
            </a:prstGeom>
            <a:noFill/>
            <a:ln w="19050">
              <a:solidFill>
                <a:srgbClr val="EA561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641351" y="1339850"/>
            <a:ext cx="5076824" cy="1973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57188" indent="-357188" algn="just">
              <a:lnSpc>
                <a:spcPct val="130000"/>
              </a:lnSpc>
              <a:spcAft>
                <a:spcPts val="10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ждение / усыновление ребенка, с 01.01.2018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31.12.2022 г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57188" indent="-357188" algn="just">
              <a:lnSpc>
                <a:spcPct val="130000"/>
              </a:lnSpc>
              <a:spcAft>
                <a:spcPts val="10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жденные дети являются гражданами Российской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едерации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57188" indent="-357188" algn="just">
              <a:lnSpc>
                <a:spcPct val="130000"/>
              </a:lnSpc>
              <a:spcAft>
                <a:spcPts val="1000"/>
              </a:spcAft>
              <a:buClr>
                <a:schemeClr val="bg1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аво на получение кредита возникает как у матери, так и у отца второго и (или) последующих 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тей </a:t>
            </a:r>
            <a:endParaRPr lang="ru-RU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0" y="2719774"/>
            <a:ext cx="518230" cy="51823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0" y="2083372"/>
            <a:ext cx="518230" cy="51823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70" y="1488942"/>
            <a:ext cx="518230" cy="518230"/>
          </a:xfrm>
          <a:prstGeom prst="rect">
            <a:avLst/>
          </a:prstGeom>
        </p:spPr>
      </p:pic>
      <p:sp>
        <p:nvSpPr>
          <p:cNvPr id="23" name="object 26"/>
          <p:cNvSpPr txBox="1">
            <a:spLocks/>
          </p:cNvSpPr>
          <p:nvPr/>
        </p:nvSpPr>
        <p:spPr>
          <a:xfrm>
            <a:off x="603249" y="996950"/>
            <a:ext cx="5114925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>
              <a:defRPr sz="2050" b="1" i="0">
                <a:solidFill>
                  <a:srgbClr val="0D4BA0"/>
                </a:solidFill>
                <a:latin typeface="Century Gothic"/>
                <a:ea typeface="+mj-ea"/>
                <a:cs typeface="Century Gothic"/>
              </a:defRPr>
            </a:lvl1pPr>
          </a:lstStyle>
          <a:p>
            <a:pPr marL="14019" marR="5608" defTabSz="1009341"/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оспользоваться программой льготного кредитования могут семьи </a:t>
            </a:r>
            <a:endParaRPr lang="en-US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861" y="115709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037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мейная ипотека</a:t>
            </a:r>
            <a:r>
              <a:rPr lang="en-US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.</a:t>
            </a:r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ефинансировани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677980" y="2452001"/>
            <a:ext cx="1819123" cy="122501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33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333276"/>
              </p:ext>
            </p:extLst>
          </p:nvPr>
        </p:nvGraphicFramePr>
        <p:xfrm>
          <a:off x="629538" y="4387850"/>
          <a:ext cx="9441561" cy="2432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86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51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67731968"/>
                    </a:ext>
                  </a:extLst>
                </a:gridCol>
                <a:gridCol w="25907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0891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умма кредита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вка</a:t>
                      </a: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змер ежемесячного</a:t>
                      </a:r>
                      <a:r>
                        <a:rPr lang="ru-RU" sz="1100" b="0" baseline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платежа, руб.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бщая сумма выплат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3612"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 500 0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29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6 798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 194 025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824"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7 500 0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0 790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4 522 225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824">
                <a:tc gridSpan="2"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Экономия:</a:t>
                      </a:r>
                      <a:endParaRPr lang="ru-RU" sz="1200" b="1" i="0" u="none" strike="noStrike" dirty="0">
                        <a:solidFill>
                          <a:srgbClr val="EA5614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3 992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 328 200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174854"/>
              </p:ext>
            </p:extLst>
          </p:nvPr>
        </p:nvGraphicFramePr>
        <p:xfrm>
          <a:off x="632713" y="1573854"/>
          <a:ext cx="9438386" cy="24329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79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67000">
                  <a:extLst>
                    <a:ext uri="{9D8B030D-6E8A-4147-A177-3AD203B41FA5}">
                      <a16:colId xmlns:a16="http://schemas.microsoft.com/office/drawing/2014/main" val="267731968"/>
                    </a:ext>
                  </a:extLst>
                </a:gridCol>
                <a:gridCol w="25907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5532"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умма кредита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Ставка</a:t>
                      </a: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змер ежемесячного</a:t>
                      </a:r>
                      <a:r>
                        <a:rPr lang="ru-RU" sz="1100" b="0" baseline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платежа, руб.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buNone/>
                      </a:pPr>
                      <a:r>
                        <a:rPr lang="ru-RU" sz="1100" b="0" dirty="0" smtClean="0">
                          <a:solidFill>
                            <a:schemeClr val="bg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бщая сумма выплат</a:t>
                      </a:r>
                      <a:endParaRPr lang="ru-RU" sz="1100" b="0" dirty="0">
                        <a:solidFill>
                          <a:schemeClr val="bg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B2C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2714"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500 0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,29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6 560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4 757 212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3422"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500 0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%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7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720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6 777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038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1328">
                <a:tc gridSpan="2"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EA5614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Экономия:</a:t>
                      </a:r>
                      <a:endParaRPr lang="ru-RU" sz="1200" b="1" i="0" u="none" strike="noStrike" dirty="0">
                        <a:solidFill>
                          <a:srgbClr val="EA5614"/>
                        </a:solidFill>
                        <a:latin typeface="Gilroy" panose="00000500000000000000" pitchFamily="50" charset="-52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7428" marR="67428" marT="33714" marB="33714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1" i="0" u="none" strike="noStrike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1 160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ctr" defTabSz="44958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Gilroy" panose="00000500000000000000" pitchFamily="50" charset="-52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 019 826 р.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538188" y="958850"/>
            <a:ext cx="78565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kern="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годы рефинансирования по программе «Семейная ипотека»</a:t>
            </a:r>
          </a:p>
          <a:p>
            <a:endParaRPr lang="ru-RU" sz="1400" b="1" kern="0" dirty="0"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6100" y="115709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952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Прямая соединительная линия 15"/>
          <p:cNvCxnSpPr/>
          <p:nvPr/>
        </p:nvCxnSpPr>
        <p:spPr>
          <a:xfrm>
            <a:off x="696974" y="654050"/>
            <a:ext cx="9372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83697" y="196850"/>
            <a:ext cx="67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2B2C8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Ипотека с государственной поддержкой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20" y="-3175"/>
            <a:ext cx="2929424" cy="797591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3300136" y="3932335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10986" y="3927168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289302" y="2263259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513883" y="4011130"/>
            <a:ext cx="1905059" cy="1202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ервоначальный взнос – от </a:t>
            </a:r>
            <a:r>
              <a:rPr lang="ru-RU" sz="10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  <a:endParaRPr lang="ru-RU" sz="1050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501808" y="2533477"/>
            <a:ext cx="1922224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0 </a:t>
            </a:r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лет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ый срок кредитования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981487" y="4080533"/>
            <a:ext cx="1905059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r>
              <a:rPr lang="ru-RU" sz="44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лн</a:t>
            </a:r>
            <a:r>
              <a:rPr lang="ru-RU" sz="4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ый размер </a:t>
            </a:r>
            <a:r>
              <a:rPr lang="ru-RU" sz="1050" b="1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кредита</a:t>
            </a:r>
            <a:endParaRPr lang="ru-RU" sz="1089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bject 27"/>
          <p:cNvSpPr txBox="1"/>
          <p:nvPr/>
        </p:nvSpPr>
        <p:spPr>
          <a:xfrm>
            <a:off x="706590" y="1003112"/>
            <a:ext cx="4868709" cy="9566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26" marR="4610" indent="-11526" defTabSz="829639">
              <a:spcAft>
                <a:spcPts val="454"/>
              </a:spcAft>
            </a:pPr>
            <a: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спрограмма 2020</a:t>
            </a:r>
            <a:endParaRPr lang="en-US" sz="1600" dirty="0"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1526" marR="4610" indent="-11526" defTabSz="829639">
              <a:spcAft>
                <a:spcPts val="454"/>
              </a:spcAft>
            </a:pP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риобретение квартиры в строящемся доме </a:t>
            </a:r>
            <a:b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на лучших условиях с государственным </a:t>
            </a:r>
            <a:b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4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убсидированием ипотеки</a:t>
            </a:r>
            <a:endParaRPr lang="en-US" sz="14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06591" y="2254486"/>
            <a:ext cx="234723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5,85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b="1" dirty="0">
                <a:solidFill>
                  <a:schemeClr val="tx1">
                    <a:lumMod val="85000"/>
                    <a:lumOff val="1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 *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4"/>
          <a:srcRect l="47198" t="1281" r="27815" b="113"/>
          <a:stretch/>
        </p:blipFill>
        <p:spPr>
          <a:xfrm>
            <a:off x="5956301" y="1035050"/>
            <a:ext cx="4114800" cy="58674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29167" y="5578653"/>
            <a:ext cx="19992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10"/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 Срок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действия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до 01.07.2022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14364" y="6413640"/>
            <a:ext cx="48468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кредитования действительны по состоянию н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.07.2021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по программам ипотечного кредитования по ссылке </a:t>
            </a: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  <a:hlinkClick r:id="rId5"/>
              </a:rPr>
              <a:t>https://www.psbank.ru/Personal/Mortgage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endParaRPr lang="ru-RU" sz="9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34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696974" y="654050"/>
            <a:ext cx="9372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83697" y="196850"/>
            <a:ext cx="67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2B2C8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Военная ипотека от ПСБ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20" y="-3175"/>
            <a:ext cx="2929424" cy="797591"/>
          </a:xfrm>
          <a:prstGeom prst="rect">
            <a:avLst/>
          </a:prstGeom>
        </p:spPr>
      </p:pic>
      <p:sp>
        <p:nvSpPr>
          <p:cNvPr id="23" name="object 27"/>
          <p:cNvSpPr txBox="1"/>
          <p:nvPr/>
        </p:nvSpPr>
        <p:spPr>
          <a:xfrm>
            <a:off x="713328" y="1090917"/>
            <a:ext cx="43513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26" marR="4610" indent="-11526" defTabSz="829639">
              <a:spcAft>
                <a:spcPts val="454"/>
              </a:spcAft>
            </a:pPr>
            <a: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риобретение квартиры на первичном </a:t>
            </a:r>
            <a:b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и вторичном рынке </a:t>
            </a:r>
            <a:r>
              <a:rPr lang="ru-RU" sz="1600" b="1" dirty="0">
                <a:solidFill>
                  <a:srgbClr val="EA561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на лучших условиях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17723" y="3850732"/>
            <a:ext cx="494051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296039" y="2186823"/>
            <a:ext cx="2358071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519418" y="2519629"/>
            <a:ext cx="1922224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20%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Первоначальный взнос – от 20%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235871" y="4112992"/>
            <a:ext cx="4117566" cy="931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,</a:t>
            </a:r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</a:t>
            </a:r>
            <a:r>
              <a:rPr lang="en-US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5</a:t>
            </a:r>
            <a:r>
              <a:rPr lang="ru-RU" sz="24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лн ₽</a:t>
            </a:r>
            <a:r>
              <a:rPr lang="ru-RU" sz="4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ый размер кредита</a:t>
            </a:r>
            <a:endParaRPr lang="ru-RU" sz="1089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13328" y="2178050"/>
            <a:ext cx="2358071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от</a:t>
            </a:r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en-US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</a:t>
            </a:r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*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/>
          <a:srcRect l="5575" r="4970"/>
          <a:stretch/>
        </p:blipFill>
        <p:spPr>
          <a:xfrm>
            <a:off x="5954774" y="1021930"/>
            <a:ext cx="4114800" cy="59436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637315" y="5743241"/>
            <a:ext cx="50328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 Процентная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6%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довых применяется для держателей зарплатных карт Банка, в иных случаях применяется процентная 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75%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довых по программам «Рефинансирование. Военная ипотека», «Вторичный рынок. Военная ипотека», «Новостройка. Военная ипотека».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14364" y="6413640"/>
            <a:ext cx="48468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кредитования действительны по состоянию н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.07.2021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по программам ипотечного кредитования по ссылке </a:t>
            </a: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  <a:hlinkClick r:id="rId4"/>
              </a:rPr>
              <a:t>https://www.psbank.ru/Personal/Mortgage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endParaRPr lang="ru-RU" sz="9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3649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696974" y="654050"/>
            <a:ext cx="93726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583697" y="196850"/>
            <a:ext cx="67903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rgbClr val="2B2C8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Военная ипотека от ПСБ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3520" y="-3175"/>
            <a:ext cx="2929424" cy="797591"/>
          </a:xfrm>
          <a:prstGeom prst="rect">
            <a:avLst/>
          </a:prstGeom>
        </p:spPr>
      </p:pic>
      <p:sp>
        <p:nvSpPr>
          <p:cNvPr id="22" name="object 27"/>
          <p:cNvSpPr txBox="1"/>
          <p:nvPr/>
        </p:nvSpPr>
        <p:spPr>
          <a:xfrm>
            <a:off x="716833" y="1035050"/>
            <a:ext cx="4351337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26" marR="4610" indent="-11526" defTabSz="829639">
              <a:spcAft>
                <a:spcPts val="454"/>
              </a:spcAft>
            </a:pPr>
            <a:r>
              <a:rPr lang="ru-RU" sz="1600" b="1" dirty="0"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Рефинансирование кредита по военной ипотеке </a:t>
            </a:r>
            <a:r>
              <a:rPr lang="ru-RU" sz="1600" b="1" dirty="0">
                <a:solidFill>
                  <a:srgbClr val="EA5614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на первичном и вторичном рынк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10986" y="3922660"/>
            <a:ext cx="4940517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89302" y="2258751"/>
            <a:ext cx="2358071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71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503155" y="2571100"/>
            <a:ext cx="1922224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50 лет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Возраст заемщика увеличен – 50 лет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229134" y="4184920"/>
            <a:ext cx="4117566" cy="931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9639"/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,620</a:t>
            </a:r>
            <a:r>
              <a:rPr lang="ru-RU" sz="24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лн ₽</a:t>
            </a:r>
            <a:r>
              <a:rPr lang="ru-RU" sz="4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algn="ctr" defTabSz="829639"/>
            <a:r>
              <a:rPr lang="ru-RU" sz="1050" b="1" dirty="0">
                <a:solidFill>
                  <a:prstClr val="black">
                    <a:lumMod val="85000"/>
                    <a:lumOff val="15000"/>
                  </a:prst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Максимальный размер кредита</a:t>
            </a:r>
            <a:endParaRPr lang="ru-RU" sz="1089" b="1" dirty="0">
              <a:solidFill>
                <a:prstClr val="black">
                  <a:lumMod val="85000"/>
                  <a:lumOff val="15000"/>
                </a:prst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06591" y="2249978"/>
            <a:ext cx="2358071" cy="1455643"/>
          </a:xfrm>
          <a:prstGeom prst="rect">
            <a:avLst/>
          </a:prstGeom>
          <a:solidFill>
            <a:srgbClr val="E6E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от</a:t>
            </a:r>
            <a:r>
              <a:rPr lang="ru-RU" sz="4000" b="1" dirty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rgbClr val="2A238B"/>
                </a:solidFill>
                <a:latin typeface="Gilroy SemiBold" panose="000007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6%</a:t>
            </a:r>
            <a:endParaRPr lang="ru-RU" sz="4000" b="1" dirty="0">
              <a:solidFill>
                <a:srgbClr val="2A238B"/>
              </a:solidFill>
              <a:latin typeface="Gilroy SemiBold" panose="000007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*</a:t>
            </a:r>
            <a:endParaRPr lang="ru-RU" sz="1050" b="1" dirty="0">
              <a:solidFill>
                <a:schemeClr val="tx1">
                  <a:lumMod val="85000"/>
                  <a:lumOff val="1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/>
          <a:srcRect l="1686" r="7256"/>
          <a:stretch/>
        </p:blipFill>
        <p:spPr>
          <a:xfrm>
            <a:off x="5956299" y="1035050"/>
            <a:ext cx="4114801" cy="5943600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637315" y="5743241"/>
            <a:ext cx="50328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 Процентная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6%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довых применяется для держателей зарплатных карт Банка, в иных случаях применяется процентная ставк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6,75% </a:t>
            </a:r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годовых по программам «Рефинансирование. Военная ипотека», «Вторичный рынок. Военная ипотека», «Новостройка. Военная ипотека».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14364" y="6413640"/>
            <a:ext cx="48468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кредитования действительны по состоянию на </a:t>
            </a:r>
            <a:r>
              <a:rPr lang="ru-RU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.07.2021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Условия по программам ипотечного кредитования по ссылке </a:t>
            </a:r>
          </a:p>
          <a:p>
            <a:pPr defTabSz="829639"/>
            <a:r>
              <a:rPr lang="ru-RU"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  <a:hlinkClick r:id="rId5"/>
              </a:rPr>
              <a:t>https://www.psbank.ru/Personal/Mortgage</a:t>
            </a:r>
            <a:endParaRPr lang="ru-RU" sz="900" dirty="0">
              <a:solidFill>
                <a:schemeClr val="tx1">
                  <a:lumMod val="65000"/>
                  <a:lumOff val="35000"/>
                </a:schemeClr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defTabSz="829639"/>
            <a:endParaRPr lang="ru-RU" sz="900" dirty="0"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619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Прямая соединительная линия 28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истемно значимый российский банк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395" y="1047082"/>
            <a:ext cx="3083610" cy="5911850"/>
          </a:xfrm>
          <a:prstGeom prst="rect">
            <a:avLst/>
          </a:prstGeom>
        </p:spPr>
      </p:pic>
      <p:sp>
        <p:nvSpPr>
          <p:cNvPr id="7" name="Фамилия  Имя Отчество…"/>
          <p:cNvSpPr txBox="1">
            <a:spLocks noGrp="1"/>
          </p:cNvSpPr>
          <p:nvPr>
            <p:ph type="body" sz="quarter" idx="1"/>
          </p:nvPr>
        </p:nvSpPr>
        <p:spPr>
          <a:xfrm>
            <a:off x="622300" y="1035410"/>
            <a:ext cx="5983226" cy="456840"/>
          </a:xfrm>
          <a:prstGeom prst="rect">
            <a:avLst/>
          </a:prstGeom>
        </p:spPr>
        <p:txBody>
          <a:bodyPr/>
          <a:lstStyle/>
          <a:p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ПСБ – опорный банк ОПК, включен в список стратегических предприятий и акционерных обществ</a:t>
            </a:r>
            <a:endParaRPr sz="1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Фамилия  Имя Отчество…"/>
          <p:cNvSpPr txBox="1">
            <a:spLocks/>
          </p:cNvSpPr>
          <p:nvPr/>
        </p:nvSpPr>
        <p:spPr>
          <a:xfrm>
            <a:off x="1245898" y="1778206"/>
            <a:ext cx="825812" cy="55251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36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,2</a:t>
            </a:r>
            <a:endParaRPr lang="ru-RU" sz="36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Фамилия  Имя Отчество…"/>
          <p:cNvSpPr txBox="1">
            <a:spLocks/>
          </p:cNvSpPr>
          <p:nvPr/>
        </p:nvSpPr>
        <p:spPr>
          <a:xfrm>
            <a:off x="4296457" y="1787731"/>
            <a:ext cx="1050243" cy="55251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36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lang="en-US" sz="36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5</a:t>
            </a:r>
            <a:endParaRPr lang="ru-RU" sz="36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Фамилия  Имя Отчество…"/>
          <p:cNvSpPr txBox="1">
            <a:spLocks/>
          </p:cNvSpPr>
          <p:nvPr/>
        </p:nvSpPr>
        <p:spPr>
          <a:xfrm>
            <a:off x="2236498" y="1893301"/>
            <a:ext cx="671802" cy="30444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трлн ₽</a:t>
            </a:r>
          </a:p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активов</a:t>
            </a:r>
          </a:p>
          <a:p>
            <a:pPr defTabSz="914400"/>
            <a:endParaRPr lang="ru-RU" sz="1200" kern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Фамилия  Имя Отчество…"/>
          <p:cNvSpPr txBox="1">
            <a:spLocks/>
          </p:cNvSpPr>
          <p:nvPr/>
        </p:nvSpPr>
        <p:spPr>
          <a:xfrm>
            <a:off x="5497574" y="1916874"/>
            <a:ext cx="801626" cy="30444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млрд ₽</a:t>
            </a:r>
          </a:p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капита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22300" y="1654618"/>
            <a:ext cx="2853543" cy="818677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3813175" y="1664173"/>
            <a:ext cx="2853543" cy="818677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Фамилия  Имя Отчество…"/>
          <p:cNvSpPr txBox="1">
            <a:spLocks/>
          </p:cNvSpPr>
          <p:nvPr/>
        </p:nvSpPr>
        <p:spPr>
          <a:xfrm>
            <a:off x="622300" y="3024991"/>
            <a:ext cx="4665273" cy="418205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циональное 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рейтинговое агентство АКРА </a:t>
            </a:r>
            <a:endParaRPr lang="ru-RU" sz="10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Кредитный 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рейтинг банка: 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«АА(RU)»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, прогноз «Стабильный» </a:t>
            </a:r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0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Фамилия  Имя Отчество…"/>
          <p:cNvSpPr txBox="1">
            <a:spLocks/>
          </p:cNvSpPr>
          <p:nvPr/>
        </p:nvSpPr>
        <p:spPr>
          <a:xfrm>
            <a:off x="612775" y="2711450"/>
            <a:ext cx="1054412" cy="2286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b="1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Рейтинги:</a:t>
            </a:r>
          </a:p>
        </p:txBody>
      </p:sp>
      <p:sp>
        <p:nvSpPr>
          <p:cNvPr id="17" name="Фамилия  Имя Отчество…"/>
          <p:cNvSpPr txBox="1">
            <a:spLocks/>
          </p:cNvSpPr>
          <p:nvPr/>
        </p:nvSpPr>
        <p:spPr>
          <a:xfrm>
            <a:off x="622300" y="3482191"/>
            <a:ext cx="4495800" cy="390915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Рейтинговое агентство «Эксперт РА» </a:t>
            </a:r>
          </a:p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Кредитный рейтинг банка: 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«</a:t>
            </a:r>
            <a:r>
              <a:rPr lang="ru-RU" sz="1000" b="1" kern="0" smtClean="0">
                <a:latin typeface="Verdana" panose="020B0604030504040204" pitchFamily="34" charset="0"/>
                <a:ea typeface="Verdana" panose="020B0604030504040204" pitchFamily="34" charset="0"/>
              </a:rPr>
              <a:t>ruAА»</a:t>
            </a:r>
            <a:r>
              <a:rPr lang="ru-RU" sz="1000" kern="0" smtClean="0">
                <a:latin typeface="Verdana" panose="020B0604030504040204" pitchFamily="34" charset="0"/>
                <a:ea typeface="Verdana" panose="020B0604030504040204" pitchFamily="34" charset="0"/>
              </a:rPr>
              <a:t>,</a:t>
            </a:r>
            <a:r>
              <a:rPr lang="ru-RU" sz="1000" b="1" kern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прогноз «Стабильный»</a:t>
            </a:r>
            <a:endParaRPr lang="ru-RU" sz="10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Фамилия  Имя Отчество…"/>
          <p:cNvSpPr txBox="1">
            <a:spLocks/>
          </p:cNvSpPr>
          <p:nvPr/>
        </p:nvSpPr>
        <p:spPr>
          <a:xfrm>
            <a:off x="624589" y="3939391"/>
            <a:ext cx="5015860" cy="45684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Международное рейтинговое агентство </a:t>
            </a:r>
            <a:r>
              <a:rPr lang="ru-RU" sz="1000" kern="0" dirty="0" err="1">
                <a:latin typeface="Verdana" panose="020B0604030504040204" pitchFamily="34" charset="0"/>
                <a:ea typeface="Verdana" panose="020B0604030504040204" pitchFamily="34" charset="0"/>
              </a:rPr>
              <a:t>Standard&amp;Poor’s</a:t>
            </a:r>
            <a:endParaRPr lang="ru-RU" sz="1000" kern="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Долгосрочный кредитный рейтинг: 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«BB-»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,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прогноз «Позитивный»</a:t>
            </a:r>
            <a:b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0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Фамилия  Имя Отчество…"/>
          <p:cNvSpPr txBox="1">
            <a:spLocks/>
          </p:cNvSpPr>
          <p:nvPr/>
        </p:nvSpPr>
        <p:spPr>
          <a:xfrm>
            <a:off x="624589" y="4415641"/>
            <a:ext cx="5255511" cy="400834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Международное рейтинговое агентство </a:t>
            </a:r>
            <a:r>
              <a:rPr lang="ru-RU" sz="1000" kern="0" dirty="0" err="1">
                <a:latin typeface="Verdana" panose="020B0604030504040204" pitchFamily="34" charset="0"/>
                <a:ea typeface="Verdana" panose="020B0604030504040204" pitchFamily="34" charset="0"/>
              </a:rPr>
              <a:t>Moody’s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kern="0" dirty="0" err="1">
                <a:latin typeface="Verdana" panose="020B0604030504040204" pitchFamily="34" charset="0"/>
                <a:ea typeface="Verdana" panose="020B0604030504040204" pitchFamily="34" charset="0"/>
              </a:rPr>
              <a:t>Investors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kern="0" dirty="0" err="1">
                <a:latin typeface="Verdana" panose="020B0604030504040204" pitchFamily="34" charset="0"/>
                <a:ea typeface="Verdana" panose="020B0604030504040204" pitchFamily="34" charset="0"/>
              </a:rPr>
              <a:t>Service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 </a:t>
            </a:r>
          </a:p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Рейтинг по депозитам в иностранной валюте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: «Ba3»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,</a:t>
            </a:r>
            <a:r>
              <a:rPr lang="ru-RU" sz="1000" b="1" kern="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прогноз </a:t>
            </a:r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«Позитивный» 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525" y="4896095"/>
            <a:ext cx="1300575" cy="1324840"/>
          </a:xfrm>
          <a:prstGeom prst="rect">
            <a:avLst/>
          </a:prstGeom>
        </p:spPr>
      </p:pic>
      <p:sp>
        <p:nvSpPr>
          <p:cNvPr id="24" name="Прямоугольник 23"/>
          <p:cNvSpPr/>
          <p:nvPr/>
        </p:nvSpPr>
        <p:spPr>
          <a:xfrm>
            <a:off x="629538" y="4964839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4237" y="4896095"/>
            <a:ext cx="1101663" cy="1057672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692335" y="5022368"/>
            <a:ext cx="12954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</a:t>
            </a:r>
            <a:r>
              <a:rPr lang="en-US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ru-RU" b="1" dirty="0" smtClean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упнейших </a:t>
            </a:r>
            <a: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анков </a:t>
            </a: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ны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7875" y="4896095"/>
            <a:ext cx="1300575" cy="132484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2667888" y="4964839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2587" y="4896095"/>
            <a:ext cx="1101663" cy="1057672"/>
          </a:xfrm>
          <a:prstGeom prst="rect">
            <a:avLst/>
          </a:prstGeom>
          <a:noFill/>
        </p:spPr>
      </p:pic>
      <p:sp>
        <p:nvSpPr>
          <p:cNvPr id="43" name="TextBox 42"/>
          <p:cNvSpPr txBox="1"/>
          <p:nvPr/>
        </p:nvSpPr>
        <p:spPr>
          <a:xfrm>
            <a:off x="2730684" y="5022368"/>
            <a:ext cx="14350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7</a:t>
            </a: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средствам юридических лиц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462" y="4896095"/>
            <a:ext cx="1300575" cy="132484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4708525" y="4964839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33224" y="4896095"/>
            <a:ext cx="1101663" cy="1057672"/>
          </a:xfrm>
          <a:prstGeom prst="rect">
            <a:avLst/>
          </a:prstGeom>
          <a:noFill/>
        </p:spPr>
      </p:pic>
      <p:sp>
        <p:nvSpPr>
          <p:cNvPr id="47" name="TextBox 46"/>
          <p:cNvSpPr txBox="1"/>
          <p:nvPr/>
        </p:nvSpPr>
        <p:spPr>
          <a:xfrm>
            <a:off x="4771322" y="5004906"/>
            <a:ext cx="230892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</a:t>
            </a:r>
            <a:r>
              <a:rPr lang="en-US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ru-RU" b="1" dirty="0" smtClean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</a:t>
            </a:r>
            <a:r>
              <a:rPr lang="ru-RU" sz="800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енкинге</a:t>
            </a:r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Московской </a:t>
            </a:r>
            <a:endParaRPr lang="ru-RU" sz="8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8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иржи </a:t>
            </a:r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активным клиентам </a:t>
            </a:r>
            <a:endParaRPr lang="ru-RU" sz="8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8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</a:t>
            </a:r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ондовой, срочной </a:t>
            </a:r>
            <a:endParaRPr lang="ru-RU" sz="800" dirty="0" smtClean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8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и </a:t>
            </a:r>
            <a:r>
              <a:rPr lang="ru-RU" sz="8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алютной секциях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937" y="6187210"/>
            <a:ext cx="1300575" cy="1324840"/>
          </a:xfrm>
          <a:prstGeom prst="rect">
            <a:avLst/>
          </a:prstGeom>
        </p:spPr>
      </p:pic>
      <p:sp>
        <p:nvSpPr>
          <p:cNvPr id="49" name="Прямоугольник 48"/>
          <p:cNvSpPr/>
          <p:nvPr/>
        </p:nvSpPr>
        <p:spPr>
          <a:xfrm>
            <a:off x="631825" y="5984014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6999" y="5915270"/>
            <a:ext cx="1101663" cy="1057672"/>
          </a:xfrm>
          <a:prstGeom prst="rect">
            <a:avLst/>
          </a:prstGeom>
          <a:noFill/>
        </p:spPr>
      </p:pic>
      <p:sp>
        <p:nvSpPr>
          <p:cNvPr id="51" name="TextBox 50"/>
          <p:cNvSpPr txBox="1"/>
          <p:nvPr/>
        </p:nvSpPr>
        <p:spPr>
          <a:xfrm>
            <a:off x="694622" y="6041543"/>
            <a:ext cx="14382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</a:t>
            </a:r>
            <a:r>
              <a:rPr lang="en-US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ru-RU" b="1" dirty="0" smtClean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кредитному </a:t>
            </a: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орпоративному</a:t>
            </a: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ртфелю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10162" y="6148102"/>
            <a:ext cx="1300575" cy="1324840"/>
          </a:xfrm>
          <a:prstGeom prst="rect">
            <a:avLst/>
          </a:prstGeom>
        </p:spPr>
      </p:pic>
      <p:sp>
        <p:nvSpPr>
          <p:cNvPr id="53" name="Прямоугольник 52"/>
          <p:cNvSpPr/>
          <p:nvPr/>
        </p:nvSpPr>
        <p:spPr>
          <a:xfrm>
            <a:off x="2670175" y="5984014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4874" y="5915270"/>
            <a:ext cx="1101663" cy="1057672"/>
          </a:xfrm>
          <a:prstGeom prst="rect">
            <a:avLst/>
          </a:prstGeom>
          <a:noFill/>
        </p:spPr>
      </p:pic>
      <p:sp>
        <p:nvSpPr>
          <p:cNvPr id="55" name="TextBox 54"/>
          <p:cNvSpPr txBox="1"/>
          <p:nvPr/>
        </p:nvSpPr>
        <p:spPr>
          <a:xfrm>
            <a:off x="2732972" y="6041543"/>
            <a:ext cx="1813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7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</a:t>
            </a:r>
            <a:r>
              <a:rPr lang="en-US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кладам </a:t>
            </a:r>
            <a:b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физических </a:t>
            </a: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ц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2224" y="6148102"/>
            <a:ext cx="1300575" cy="1324840"/>
          </a:xfrm>
          <a:prstGeom prst="rect">
            <a:avLst/>
          </a:prstGeom>
        </p:spPr>
      </p:pic>
      <p:sp>
        <p:nvSpPr>
          <p:cNvPr id="57" name="Прямоугольник 56"/>
          <p:cNvSpPr/>
          <p:nvPr/>
        </p:nvSpPr>
        <p:spPr>
          <a:xfrm>
            <a:off x="4701287" y="5984014"/>
            <a:ext cx="1971589" cy="949506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5986" y="5915270"/>
            <a:ext cx="1101663" cy="1057672"/>
          </a:xfrm>
          <a:prstGeom prst="rect">
            <a:avLst/>
          </a:prstGeom>
          <a:noFill/>
        </p:spPr>
      </p:pic>
      <p:sp>
        <p:nvSpPr>
          <p:cNvPr id="59" name="TextBox 58"/>
          <p:cNvSpPr txBox="1"/>
          <p:nvPr/>
        </p:nvSpPr>
        <p:spPr>
          <a:xfrm>
            <a:off x="4764084" y="6041543"/>
            <a:ext cx="12954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ОП-</a:t>
            </a:r>
            <a:r>
              <a:rPr lang="en-US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ru-RU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  <a:p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 </a:t>
            </a:r>
            <a:r>
              <a:rPr lang="ru-RU" sz="10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редитам физических </a:t>
            </a:r>
            <a:r>
              <a:rPr lang="ru-RU" sz="10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лиц</a:t>
            </a:r>
          </a:p>
        </p:txBody>
      </p:sp>
      <p:sp>
        <p:nvSpPr>
          <p:cNvPr id="60" name="Фамилия  Имя Отчество…"/>
          <p:cNvSpPr txBox="1">
            <a:spLocks/>
          </p:cNvSpPr>
          <p:nvPr/>
        </p:nvSpPr>
        <p:spPr>
          <a:xfrm>
            <a:off x="5287573" y="1847295"/>
            <a:ext cx="200476" cy="210058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endParaRPr lang="ru-RU" sz="16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500" y="105420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532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64" y="1991794"/>
            <a:ext cx="9360805" cy="5063056"/>
          </a:xfrm>
          <a:prstGeom prst="rect">
            <a:avLst/>
          </a:prstGeom>
        </p:spPr>
      </p:pic>
      <p:sp>
        <p:nvSpPr>
          <p:cNvPr id="7" name="Фамилия  Имя Отчество…"/>
          <p:cNvSpPr txBox="1">
            <a:spLocks/>
          </p:cNvSpPr>
          <p:nvPr/>
        </p:nvSpPr>
        <p:spPr>
          <a:xfrm>
            <a:off x="641350" y="1120597"/>
            <a:ext cx="649226" cy="3810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28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4</a:t>
            </a:r>
            <a:endParaRPr lang="ru-RU" sz="28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Фамилия  Имя Отчество…"/>
          <p:cNvSpPr txBox="1">
            <a:spLocks/>
          </p:cNvSpPr>
          <p:nvPr/>
        </p:nvSpPr>
        <p:spPr>
          <a:xfrm>
            <a:off x="2470150" y="1111072"/>
            <a:ext cx="1219200" cy="3810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28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1690</a:t>
            </a:r>
            <a:endParaRPr lang="ru-RU" sz="28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Фамилия  Имя Отчество…"/>
          <p:cNvSpPr txBox="1">
            <a:spLocks/>
          </p:cNvSpPr>
          <p:nvPr/>
        </p:nvSpPr>
        <p:spPr>
          <a:xfrm>
            <a:off x="4365625" y="1117422"/>
            <a:ext cx="384052" cy="3810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28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</a:t>
            </a:r>
          </a:p>
        </p:txBody>
      </p:sp>
      <p:sp>
        <p:nvSpPr>
          <p:cNvPr id="10" name="Фамилия  Имя Отчество…"/>
          <p:cNvSpPr txBox="1">
            <a:spLocks/>
          </p:cNvSpPr>
          <p:nvPr/>
        </p:nvSpPr>
        <p:spPr>
          <a:xfrm>
            <a:off x="6175375" y="1117422"/>
            <a:ext cx="914400" cy="3810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28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56</a:t>
            </a:r>
            <a:endParaRPr lang="ru-RU" sz="28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Фамилия  Имя Отчество…"/>
          <p:cNvSpPr txBox="1">
            <a:spLocks/>
          </p:cNvSpPr>
          <p:nvPr/>
        </p:nvSpPr>
        <p:spPr>
          <a:xfrm>
            <a:off x="8051800" y="1120597"/>
            <a:ext cx="914400" cy="3810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en-US" sz="28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55</a:t>
            </a:r>
            <a:endParaRPr lang="ru-RU" sz="2800" b="1" kern="0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2" name="Фамилия  Имя Отчество…"/>
          <p:cNvSpPr txBox="1">
            <a:spLocks noGrp="1"/>
          </p:cNvSpPr>
          <p:nvPr>
            <p:ph type="body" sz="quarter" idx="1"/>
          </p:nvPr>
        </p:nvSpPr>
        <p:spPr>
          <a:xfrm>
            <a:off x="653025" y="1511300"/>
            <a:ext cx="1274200" cy="456840"/>
          </a:xfrm>
          <a:prstGeom prst="rect">
            <a:avLst/>
          </a:prstGeom>
        </p:spPr>
        <p:txBody>
          <a:bodyPr/>
          <a:lstStyle/>
          <a:p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р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егиона присутствия</a:t>
            </a:r>
            <a:endParaRPr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Фамилия  Имя Отчество…"/>
          <p:cNvSpPr txBox="1">
            <a:spLocks/>
          </p:cNvSpPr>
          <p:nvPr/>
        </p:nvSpPr>
        <p:spPr>
          <a:xfrm>
            <a:off x="2508250" y="1511300"/>
            <a:ext cx="1524000" cy="84544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собственных </a:t>
            </a:r>
            <a:endParaRPr lang="en-US" sz="12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банкоматов </a:t>
            </a:r>
            <a:b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8</a:t>
            </a:r>
            <a:r>
              <a:rPr lang="en-US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625</a:t>
            </a: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— с учетом </a:t>
            </a: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партнеров</a:t>
            </a: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) </a:t>
            </a:r>
          </a:p>
        </p:txBody>
      </p:sp>
      <p:sp>
        <p:nvSpPr>
          <p:cNvPr id="14" name="Фамилия  Имя Отчество…"/>
          <p:cNvSpPr txBox="1">
            <a:spLocks/>
          </p:cNvSpPr>
          <p:nvPr/>
        </p:nvSpPr>
        <p:spPr>
          <a:xfrm>
            <a:off x="4365625" y="1520825"/>
            <a:ext cx="953405" cy="304799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филиалов</a:t>
            </a:r>
          </a:p>
        </p:txBody>
      </p:sp>
      <p:sp>
        <p:nvSpPr>
          <p:cNvPr id="15" name="Фамилия  Имя Отчество…"/>
          <p:cNvSpPr txBox="1">
            <a:spLocks/>
          </p:cNvSpPr>
          <p:nvPr/>
        </p:nvSpPr>
        <p:spPr>
          <a:xfrm>
            <a:off x="6207125" y="1511300"/>
            <a:ext cx="1265176" cy="838200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офисов </a:t>
            </a:r>
            <a:endParaRPr lang="en-US" sz="12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Москве 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3</a:t>
            </a:r>
            <a:r>
              <a:rPr lang="en-US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7</a:t>
            </a:r>
            <a:r>
              <a:rPr lang="ru-RU" sz="1200" b="1" kern="0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</a:t>
            </a:r>
            <a:endParaRPr lang="en-US" sz="1200" b="1" kern="0" dirty="0" smtClean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и </a:t>
            </a:r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Московской </a:t>
            </a:r>
            <a:endParaRPr lang="en-US" sz="12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области </a:t>
            </a:r>
            <a:r>
              <a:rPr lang="ru-RU" sz="1200" b="1" kern="0" dirty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19)</a:t>
            </a:r>
          </a:p>
        </p:txBody>
      </p:sp>
      <p:sp>
        <p:nvSpPr>
          <p:cNvPr id="16" name="Фамилия  Имя Отчество…"/>
          <p:cNvSpPr txBox="1">
            <a:spLocks/>
          </p:cNvSpPr>
          <p:nvPr/>
        </p:nvSpPr>
        <p:spPr>
          <a:xfrm>
            <a:off x="8070850" y="1517651"/>
            <a:ext cx="1295400" cy="555624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200" kern="0" dirty="0">
                <a:latin typeface="Verdana" panose="020B0604030504040204" pitchFamily="34" charset="0"/>
                <a:ea typeface="Verdana" panose="020B0604030504040204" pitchFamily="34" charset="0"/>
              </a:rPr>
              <a:t>региональных </a:t>
            </a:r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операционных </a:t>
            </a:r>
            <a:endParaRPr lang="en-US" sz="1200" kern="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/>
            <a:r>
              <a:rPr lang="ru-RU" sz="12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офисов</a:t>
            </a:r>
            <a:endParaRPr lang="ru-RU" sz="1200" kern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653025" y="1044397"/>
            <a:ext cx="1426600" cy="0"/>
          </a:xfrm>
          <a:prstGeom prst="line">
            <a:avLst/>
          </a:prstGeom>
          <a:ln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Фамилия  Имя Отчество…"/>
          <p:cNvSpPr txBox="1">
            <a:spLocks/>
          </p:cNvSpPr>
          <p:nvPr/>
        </p:nvSpPr>
        <p:spPr>
          <a:xfrm>
            <a:off x="624450" y="6826250"/>
            <a:ext cx="2283850" cy="262108"/>
          </a:xfrm>
          <a:prstGeom prst="rect">
            <a:avLst/>
          </a:prstGeom>
        </p:spPr>
        <p:txBody>
          <a:bodyPr lIns="0" tIns="0" rIns="0" bIns="0"/>
          <a:lstStyle>
            <a:lvl1pPr marL="0">
              <a:defRPr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82">
              <a:defRPr>
                <a:latin typeface="+mn-lt"/>
                <a:ea typeface="+mn-ea"/>
                <a:cs typeface="+mn-cs"/>
              </a:defRPr>
            </a:lvl2pPr>
            <a:lvl3pPr marL="914162">
              <a:defRPr>
                <a:latin typeface="+mn-lt"/>
                <a:ea typeface="+mn-ea"/>
                <a:cs typeface="+mn-cs"/>
              </a:defRPr>
            </a:lvl3pPr>
            <a:lvl4pPr marL="1371244">
              <a:defRPr>
                <a:latin typeface="+mn-lt"/>
                <a:ea typeface="+mn-ea"/>
                <a:cs typeface="+mn-cs"/>
              </a:defRPr>
            </a:lvl4pPr>
            <a:lvl5pPr marL="1828327">
              <a:defRPr>
                <a:latin typeface="+mn-lt"/>
                <a:ea typeface="+mn-ea"/>
                <a:cs typeface="+mn-cs"/>
              </a:defRPr>
            </a:lvl5pPr>
            <a:lvl6pPr marL="2285408">
              <a:defRPr>
                <a:latin typeface="+mn-lt"/>
                <a:ea typeface="+mn-ea"/>
                <a:cs typeface="+mn-cs"/>
              </a:defRPr>
            </a:lvl6pPr>
            <a:lvl7pPr marL="2742490">
              <a:defRPr>
                <a:latin typeface="+mn-lt"/>
                <a:ea typeface="+mn-ea"/>
                <a:cs typeface="+mn-cs"/>
              </a:defRPr>
            </a:lvl7pPr>
            <a:lvl8pPr marL="3199570">
              <a:defRPr>
                <a:latin typeface="+mn-lt"/>
                <a:ea typeface="+mn-ea"/>
                <a:cs typeface="+mn-cs"/>
              </a:defRPr>
            </a:lvl8pPr>
            <a:lvl9pPr marL="3656652">
              <a:defRPr>
                <a:latin typeface="+mn-lt"/>
                <a:ea typeface="+mn-ea"/>
                <a:cs typeface="+mn-cs"/>
              </a:defRPr>
            </a:lvl9pPr>
          </a:lstStyle>
          <a:p>
            <a:pPr defTabSz="914400"/>
            <a:r>
              <a:rPr lang="ru-RU" sz="1000" kern="0" dirty="0">
                <a:latin typeface="Verdana" panose="020B0604030504040204" pitchFamily="34" charset="0"/>
                <a:ea typeface="Verdana" panose="020B0604030504040204" pitchFamily="34" charset="0"/>
              </a:rPr>
              <a:t>По состоянию </a:t>
            </a:r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01.</a:t>
            </a:r>
            <a:r>
              <a:rPr lang="en-US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0</a:t>
            </a:r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8.20</a:t>
            </a:r>
            <a:r>
              <a:rPr lang="en-US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20</a:t>
            </a:r>
            <a:r>
              <a:rPr lang="ru-RU" sz="1000" kern="0" dirty="0" smtClean="0"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endParaRPr lang="ru-RU" sz="1000" kern="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508250" y="1044397"/>
            <a:ext cx="1426600" cy="0"/>
          </a:xfrm>
          <a:prstGeom prst="line">
            <a:avLst/>
          </a:prstGeom>
          <a:ln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4365625" y="1044397"/>
            <a:ext cx="1426600" cy="0"/>
          </a:xfrm>
          <a:prstGeom prst="line">
            <a:avLst/>
          </a:prstGeom>
          <a:ln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6206100" y="1044397"/>
            <a:ext cx="1426600" cy="0"/>
          </a:xfrm>
          <a:prstGeom prst="line">
            <a:avLst/>
          </a:prstGeom>
          <a:ln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8063475" y="1044397"/>
            <a:ext cx="1426600" cy="0"/>
          </a:xfrm>
          <a:prstGeom prst="line">
            <a:avLst/>
          </a:prstGeom>
          <a:ln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перации от Калининграда до Дальнего Востока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454" y="77610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5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631825" y="4951188"/>
            <a:ext cx="9441029" cy="855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630071" y="2989038"/>
            <a:ext cx="9441029" cy="8558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посылки</a:t>
            </a:r>
            <a:endParaRPr lang="ru-RU" sz="14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" name="Заголовок 3"/>
          <p:cNvSpPr txBox="1">
            <a:spLocks/>
          </p:cNvSpPr>
          <p:nvPr/>
        </p:nvSpPr>
        <p:spPr>
          <a:xfrm>
            <a:off x="1003300" y="1120775"/>
            <a:ext cx="7999233" cy="608734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kern="1200" dirty="0">
                <a:solidFill>
                  <a:srgbClr val="2E2F8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оздание специализированной программы ипотечного кредитования – </a:t>
            </a:r>
            <a:b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ажный элемент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долгосрочной мотивации </a:t>
            </a:r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ботников предприятий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Прямоугольник 70"/>
          <p:cNvSpPr/>
          <p:nvPr/>
        </p:nvSpPr>
        <p:spPr>
          <a:xfrm>
            <a:off x="1884556" y="5040258"/>
            <a:ext cx="8014572" cy="56679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003D7A"/>
              </a:buClr>
            </a:pP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настоящее время масштабно не реализуются специализированные льготные программы ипотечного кредитования</a:t>
            </a:r>
          </a:p>
        </p:txBody>
      </p:sp>
      <p:sp>
        <p:nvSpPr>
          <p:cNvPr id="12" name="Прямоугольник 70"/>
          <p:cNvSpPr/>
          <p:nvPr/>
        </p:nvSpPr>
        <p:spPr>
          <a:xfrm>
            <a:off x="1884556" y="3023850"/>
            <a:ext cx="8338944" cy="754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003D7A"/>
              </a:buClr>
            </a:pP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ботники предприятий ОПК, бюджетных организаций – узкоспециализированные </a:t>
            </a:r>
            <a:r>
              <a:rPr lang="ru-RU" sz="1200" dirty="0" err="1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ишевые</a:t>
            </a: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специалисты</a:t>
            </a:r>
          </a:p>
        </p:txBody>
      </p:sp>
      <p:sp>
        <p:nvSpPr>
          <p:cNvPr id="15" name="Прямоугольник 70"/>
          <p:cNvSpPr/>
          <p:nvPr/>
        </p:nvSpPr>
        <p:spPr>
          <a:xfrm>
            <a:off x="1884556" y="3930650"/>
            <a:ext cx="8338944" cy="754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003D7A"/>
              </a:buClr>
            </a:pP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 ряде регионов вследствие высоких процентных ставок при сравнительно невысоких доходах работников предприятий решение жилищного вопроса является трудновыполнимым.  </a:t>
            </a:r>
            <a:b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Удержание работников на предприятиях становится проблематичным</a:t>
            </a:r>
          </a:p>
        </p:txBody>
      </p:sp>
      <p:sp>
        <p:nvSpPr>
          <p:cNvPr id="18" name="Прямоугольник 70"/>
          <p:cNvSpPr/>
          <p:nvPr/>
        </p:nvSpPr>
        <p:spPr>
          <a:xfrm>
            <a:off x="1884556" y="6006185"/>
            <a:ext cx="8338944" cy="51526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003D7A"/>
              </a:buClr>
            </a:pP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кущие финансовые условия и последствия негативных эффектов на экономику создают </a:t>
            </a:r>
            <a:b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ые барьеры в виде необходимости формирования первоначального взноса для получения ипотечных кредитов работниками предприятий ОПК (5-7 окладов)</a:t>
            </a:r>
          </a:p>
        </p:txBody>
      </p:sp>
      <p:sp>
        <p:nvSpPr>
          <p:cNvPr id="20" name="Прямоугольник 70"/>
          <p:cNvSpPr/>
          <p:nvPr/>
        </p:nvSpPr>
        <p:spPr>
          <a:xfrm>
            <a:off x="563484" y="1951061"/>
            <a:ext cx="9335644" cy="754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  <a:buClr>
                <a:srgbClr val="003D7A"/>
              </a:buClr>
            </a:pPr>
            <a:r>
              <a:rPr lang="ru-RU" sz="12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 учетом приоритетов, обозначенных Президентом Российской Федерации, текущей макроэкономической ситуации и необходимости создания системы удержания работников, целесообразно рассмотреть вопрос создания специализированной программы льготной ипотеки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23188" y="1044136"/>
            <a:ext cx="9447912" cy="754063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850900" y="3060839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50900" y="3984764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50900" y="4975364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50900" y="5889764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1641475" y="2987483"/>
            <a:ext cx="0" cy="3762567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1513" y="122092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25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29538" y="6095116"/>
            <a:ext cx="9441562" cy="11121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67903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едложение</a:t>
            </a:r>
          </a:p>
        </p:txBody>
      </p:sp>
      <p:sp>
        <p:nvSpPr>
          <p:cNvPr id="9" name="Заголовок 3"/>
          <p:cNvSpPr txBox="1">
            <a:spLocks/>
          </p:cNvSpPr>
          <p:nvPr/>
        </p:nvSpPr>
        <p:spPr>
          <a:xfrm>
            <a:off x="984250" y="1246004"/>
            <a:ext cx="8949528" cy="37797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kern="1200" dirty="0">
                <a:solidFill>
                  <a:srgbClr val="2E2F8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Компания ОПК выбирает и создает наиболее эффективные ипотечные </a:t>
            </a:r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ограмм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42619" y="2725280"/>
            <a:ext cx="2800306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740000"/>
              </a:buClr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ервоначальный </a:t>
            </a:r>
            <a:r>
              <a:rPr lang="ru-RU" sz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знос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740000"/>
              </a:buClr>
            </a:pPr>
            <a:endParaRPr lang="ru-RU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srgbClr val="740000"/>
              </a:buClr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Минимальная ставка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740000"/>
              </a:buClr>
            </a:pPr>
            <a:endParaRPr lang="ru-RU" sz="12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lvl="0">
              <a:spcBef>
                <a:spcPts val="600"/>
              </a:spcBef>
              <a:spcAft>
                <a:spcPts val="600"/>
              </a:spcAft>
              <a:buClr>
                <a:srgbClr val="740000"/>
              </a:buClr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ru-RU" sz="1200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Прямоугольник 75">
            <a:extLst>
              <a:ext uri="{FF2B5EF4-FFF2-40B4-BE49-F238E27FC236}">
                <a16:creationId xmlns:a16="http://schemas.microsoft.com/office/drawing/2014/main" id="{A3D9A1B9-B39E-4D97-97B4-72158FD87AEC}"/>
              </a:ext>
            </a:extLst>
          </p:cNvPr>
          <p:cNvSpPr/>
          <p:nvPr/>
        </p:nvSpPr>
        <p:spPr>
          <a:xfrm rot="5400000">
            <a:off x="2141912" y="845852"/>
            <a:ext cx="696925" cy="3034125"/>
          </a:xfrm>
          <a:prstGeom prst="rect">
            <a:avLst/>
          </a:prstGeom>
          <a:solidFill>
            <a:srgbClr val="2B2C84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96000" tIns="0" rIns="0" bIns="0" numCol="1" spcCol="38100" rtlCol="0" anchor="ctr">
            <a:noAutofit/>
          </a:bodyPr>
          <a:lstStyle/>
          <a:p>
            <a:pPr lvl="0" algn="l" defTabSz="342900">
              <a:lnSpc>
                <a:spcPct val="90000"/>
              </a:lnSpc>
            </a:pPr>
            <a:endParaRPr lang="ru-RU" sz="900" dirty="0">
              <a:solidFill>
                <a:schemeClr val="bg2"/>
              </a:solidFill>
              <a:latin typeface="+mn-lt"/>
              <a:ea typeface="Muller" charset="0"/>
              <a:cs typeface="Muller" charset="0"/>
              <a:sym typeface="Century Gothic" panose="020B0502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50975" y="2016125"/>
            <a:ext cx="2438400" cy="674954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9893" tIns="59893" rIns="59893" bIns="59893" numCol="1" spcCol="38100" rtlCol="0" anchor="ctr">
            <a:spAutoFit/>
          </a:bodyPr>
          <a:lstStyle/>
          <a:p>
            <a:pPr defTabSz="689173" hangingPunct="0"/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Реализуемые программы </a:t>
            </a:r>
            <a:b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</a:br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ипотечного кредитования </a:t>
            </a:r>
          </a:p>
          <a:p>
            <a:pPr defTabSz="689173" hangingPunct="0"/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в ПСБ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Helvetica Neue"/>
            </a:endParaRPr>
          </a:p>
        </p:txBody>
      </p:sp>
      <p:sp>
        <p:nvSpPr>
          <p:cNvPr id="13" name="Прямоугольник 75">
            <a:extLst>
              <a:ext uri="{FF2B5EF4-FFF2-40B4-BE49-F238E27FC236}">
                <a16:creationId xmlns:a16="http://schemas.microsoft.com/office/drawing/2014/main" id="{A3D9A1B9-B39E-4D97-97B4-72158FD87AEC}"/>
              </a:ext>
            </a:extLst>
          </p:cNvPr>
          <p:cNvSpPr/>
          <p:nvPr/>
        </p:nvSpPr>
        <p:spPr>
          <a:xfrm rot="5400000">
            <a:off x="7113361" y="-253064"/>
            <a:ext cx="696524" cy="5238008"/>
          </a:xfrm>
          <a:prstGeom prst="rect">
            <a:avLst/>
          </a:prstGeom>
          <a:solidFill>
            <a:srgbClr val="EA5614"/>
          </a:solidFill>
          <a:ln w="127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96000" tIns="0" rIns="0" bIns="0" numCol="1" spcCol="38100" rtlCol="0" anchor="ctr">
            <a:noAutofit/>
          </a:bodyPr>
          <a:lstStyle/>
          <a:p>
            <a:pPr lvl="0" algn="l" defTabSz="342900">
              <a:lnSpc>
                <a:spcPct val="90000"/>
              </a:lnSpc>
            </a:pPr>
            <a:endParaRPr lang="ru-RU" sz="900" dirty="0">
              <a:solidFill>
                <a:schemeClr val="bg2"/>
              </a:solidFill>
              <a:latin typeface="+mn-lt"/>
              <a:ea typeface="Muller" charset="0"/>
              <a:cs typeface="Muller" charset="0"/>
              <a:sym typeface="Century Gothic" panose="020B0502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18414" y="2092325"/>
            <a:ext cx="4284405" cy="490288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9893" tIns="59893" rIns="59893" bIns="59893" numCol="1" spcCol="38100" rtlCol="0" anchor="ctr">
            <a:spAutoFit/>
          </a:bodyPr>
          <a:lstStyle/>
          <a:p>
            <a:pPr defTabSz="689173" hangingPunct="0"/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Возможные параметры льготного ипотечного </a:t>
            </a:r>
            <a:b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</a:br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Helvetica Neue"/>
              </a:rPr>
              <a:t>кредитования для работников предприятий ОПК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Helvetica Neue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29363" y="2863850"/>
            <a:ext cx="3659714" cy="32624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программа 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020 </a:t>
            </a:r>
            <a:b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05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</a:t>
            </a:r>
            <a:r>
              <a:rPr lang="ru-RU" sz="105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тавка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85</a:t>
            </a:r>
            <a:r>
              <a:rPr lang="ru-RU" sz="105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)</a:t>
            </a:r>
            <a:endParaRPr lang="ru-RU" sz="105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льневосточная 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ипотека</a:t>
            </a:r>
            <a:r>
              <a:rPr lang="ru-RU" sz="1200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200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(ставка – 0,8%)</a:t>
            </a:r>
            <a:endParaRPr lang="ru-RU" sz="1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остройка </a:t>
            </a: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 Вторичный 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ынок</a:t>
            </a:r>
            <a:r>
              <a:rPr lang="ru-RU" sz="1200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200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(ставка – от 7,85% / от 7,97%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овый дом </a:t>
            </a: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/ 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Апартаменты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(ставка – 9,6% / от 7,9%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ефинансирование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(ставка – от 7,75 %)</a:t>
            </a:r>
            <a:endParaRPr lang="ru-RU" sz="10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buClr>
                <a:srgbClr val="003D7A"/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потека без ПВ</a:t>
            </a:r>
          </a:p>
          <a:p>
            <a:pPr marL="180975">
              <a:buClr>
                <a:srgbClr val="003D7A"/>
              </a:buClr>
            </a:pP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ставка – от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10,29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%)</a:t>
            </a:r>
            <a:endParaRPr lang="ru-RU" sz="10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Clr>
                <a:srgbClr val="003D7A"/>
              </a:buClr>
              <a:buFont typeface="Wingdings" panose="05000000000000000000" pitchFamily="2" charset="2"/>
              <a:buChar char="§"/>
            </a:pPr>
            <a:endParaRPr lang="ru-RU" sz="105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 bwMode="auto">
          <a:xfrm>
            <a:off x="8602225" y="3626942"/>
            <a:ext cx="991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400">
              <a:buClr>
                <a:schemeClr val="accent5"/>
              </a:buClr>
            </a:pP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 0,5%</a:t>
            </a:r>
          </a:p>
        </p:txBody>
      </p:sp>
      <p:sp>
        <p:nvSpPr>
          <p:cNvPr id="28" name="TextBox 27"/>
          <p:cNvSpPr txBox="1"/>
          <p:nvPr/>
        </p:nvSpPr>
        <p:spPr bwMode="auto">
          <a:xfrm>
            <a:off x="8602225" y="2994890"/>
            <a:ext cx="9917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400">
              <a:buClr>
                <a:schemeClr val="accent5"/>
              </a:buClr>
            </a:pPr>
            <a:r>
              <a:rPr lang="ru-RU" sz="12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о</a:t>
            </a:r>
            <a:r>
              <a:rPr lang="ru-RU" sz="12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 0%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924938" y="6207125"/>
            <a:ext cx="7765162" cy="9028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1000"/>
              </a:spcAft>
              <a:buClr>
                <a:srgbClr val="740000"/>
              </a:buClr>
            </a:pPr>
            <a:r>
              <a:rPr lang="ru-RU" sz="12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Дополнительные возможности ПСБ:</a:t>
            </a:r>
          </a:p>
          <a:p>
            <a:pPr marL="171450" lvl="0" indent="-171450">
              <a:spcAft>
                <a:spcPts val="1000"/>
              </a:spcAft>
              <a:buClr>
                <a:srgbClr val="EA5614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и</a:t>
            </a: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спользование материнского капитала или иных субсидий на первоначальный взнос</a:t>
            </a:r>
          </a:p>
          <a:p>
            <a:pPr marL="171450" lvl="0" indent="-171450">
              <a:spcAft>
                <a:spcPts val="1000"/>
              </a:spcAft>
              <a:buClr>
                <a:srgbClr val="EA561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субсидия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работодателя для оплаты первоначального взноса или  ежемесячного платежа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23188" y="1044136"/>
            <a:ext cx="9447912" cy="754063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06" y="6119156"/>
            <a:ext cx="1030944" cy="1030944"/>
          </a:xfrm>
          <a:prstGeom prst="rect">
            <a:avLst/>
          </a:prstGeom>
        </p:spPr>
      </p:pic>
      <p:cxnSp>
        <p:nvCxnSpPr>
          <p:cNvPr id="33" name="Прямая соединительная линия 23">
            <a:extLst>
              <a:ext uri="{FF2B5EF4-FFF2-40B4-BE49-F238E27FC236}">
                <a16:creationId xmlns:a16="http://schemas.microsoft.com/office/drawing/2014/main" id="{84332AE9-B4A5-4832-A847-0A0E50DE8011}"/>
              </a:ext>
            </a:extLst>
          </p:cNvPr>
          <p:cNvCxnSpPr>
            <a:cxnSpLocks/>
          </p:cNvCxnSpPr>
          <p:nvPr/>
        </p:nvCxnSpPr>
        <p:spPr>
          <a:xfrm>
            <a:off x="4537818" y="3510013"/>
            <a:ext cx="553328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cxnSp>
        <p:nvCxnSpPr>
          <p:cNvPr id="35" name="Прямая соединительная линия 23">
            <a:extLst>
              <a:ext uri="{FF2B5EF4-FFF2-40B4-BE49-F238E27FC236}">
                <a16:creationId xmlns:a16="http://schemas.microsoft.com/office/drawing/2014/main" id="{84332AE9-B4A5-4832-A847-0A0E50DE8011}"/>
              </a:ext>
            </a:extLst>
          </p:cNvPr>
          <p:cNvCxnSpPr>
            <a:cxnSpLocks/>
          </p:cNvCxnSpPr>
          <p:nvPr/>
        </p:nvCxnSpPr>
        <p:spPr>
          <a:xfrm>
            <a:off x="4547343" y="3986263"/>
            <a:ext cx="5533282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37" name="Овал 36"/>
          <p:cNvSpPr/>
          <p:nvPr/>
        </p:nvSpPr>
        <p:spPr>
          <a:xfrm>
            <a:off x="631825" y="2010426"/>
            <a:ext cx="700951" cy="700951"/>
          </a:xfrm>
          <a:prstGeom prst="ellipse">
            <a:avLst/>
          </a:prstGeom>
          <a:solidFill>
            <a:schemeClr val="bg1"/>
          </a:solidFill>
          <a:ln>
            <a:solidFill>
              <a:srgbClr val="2B2C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4508500" y="2016125"/>
            <a:ext cx="700951" cy="700951"/>
          </a:xfrm>
          <a:prstGeom prst="ellipse">
            <a:avLst/>
          </a:prstGeom>
          <a:solidFill>
            <a:schemeClr val="bg1"/>
          </a:solidFill>
          <a:ln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45" y="2031894"/>
            <a:ext cx="640135" cy="64013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8975" y="2006600"/>
            <a:ext cx="704149" cy="704149"/>
          </a:xfrm>
          <a:prstGeom prst="rect">
            <a:avLst/>
          </a:prstGeom>
        </p:spPr>
      </p:pic>
      <p:cxnSp>
        <p:nvCxnSpPr>
          <p:cNvPr id="42" name="Прямая соединительная линия 41"/>
          <p:cNvCxnSpPr/>
          <p:nvPr/>
        </p:nvCxnSpPr>
        <p:spPr>
          <a:xfrm>
            <a:off x="4279900" y="2014452"/>
            <a:ext cx="0" cy="375019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9807" y="104631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488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47989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словия кредитования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073881" y="5747532"/>
            <a:ext cx="2997220" cy="850118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+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23330" y="2501510"/>
            <a:ext cx="3326820" cy="6514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программа 2020</a:t>
            </a:r>
            <a:endParaRPr lang="ru-RU" sz="1100" dirty="0">
              <a:solidFill>
                <a:schemeClr val="tx1"/>
              </a:solidFill>
              <a:latin typeface="Gilroy Light" panose="000004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29195" y="2495279"/>
            <a:ext cx="2983397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85%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A238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весь срок 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23330" y="1811844"/>
            <a:ext cx="3326821" cy="6514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ромо-условия по </a:t>
            </a:r>
          </a:p>
          <a:p>
            <a:pPr marL="180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Госпрограмме 2020 </a:t>
            </a:r>
            <a:r>
              <a:rPr lang="ru-RU" sz="1100" dirty="0">
                <a:solidFill>
                  <a:schemeClr val="tx1"/>
                </a:solidFill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4019924" y="1810581"/>
            <a:ext cx="2985627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,5%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6/12 месяцев, далее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85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22239" y="3204728"/>
            <a:ext cx="3324221" cy="6514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емейная ипотека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629538" y="3882749"/>
            <a:ext cx="3324221" cy="6514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торичный рынок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29538" y="4584466"/>
            <a:ext cx="3333683" cy="6690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финансирование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030159" y="1035050"/>
            <a:ext cx="2975395" cy="703398"/>
          </a:xfrm>
          <a:prstGeom prst="rect">
            <a:avLst/>
          </a:prstGeom>
          <a:solidFill>
            <a:srgbClr val="2B2C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сотрудников ОПК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б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ез зарплатной карты ПСБ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7088666" y="1035050"/>
            <a:ext cx="2975395" cy="703398"/>
          </a:xfrm>
          <a:prstGeom prst="rect">
            <a:avLst/>
          </a:prstGeom>
          <a:solidFill>
            <a:srgbClr val="EA56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ля сотрудников ОПК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зарплатной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карт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СБ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4018648" y="3196845"/>
            <a:ext cx="2985627" cy="6560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,85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A238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весь срок 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094428" y="3196845"/>
            <a:ext cx="2975395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,29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весь срок 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036181" y="3878742"/>
            <a:ext cx="2975395" cy="6560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</a:t>
            </a:r>
            <a:r>
              <a:rPr lang="ru-RU" sz="1600" b="1" dirty="0">
                <a:solidFill>
                  <a:srgbClr val="2A238B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,9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A238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весь срок 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7094688" y="3861765"/>
            <a:ext cx="2975395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 </a:t>
            </a:r>
            <a:r>
              <a:rPr lang="ru-RU" sz="1600" b="1" dirty="0">
                <a:solidFill>
                  <a:srgbClr val="2A238B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,97% 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есь срок 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4035431" y="4605933"/>
            <a:ext cx="2975395" cy="6560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,85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A238B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ле регистрации ипотеки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7094597" y="4597490"/>
            <a:ext cx="2975395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A561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7,75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после регистрации ипотеки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7097927" y="2484353"/>
            <a:ext cx="2973173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85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B2C8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весь срок 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7088665" y="1799655"/>
            <a:ext cx="2975395" cy="65601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т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A238B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0,5% 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на 6/12 месяцев, </a:t>
            </a:r>
            <a:r>
              <a:rPr kumimoji="0" 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алее </a:t>
            </a:r>
            <a:r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,85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7075323" y="1035050"/>
            <a:ext cx="2993547" cy="5558739"/>
          </a:xfrm>
          <a:prstGeom prst="rect">
            <a:avLst/>
          </a:prstGeom>
          <a:noFill/>
          <a:ln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ик 73"/>
          <p:cNvSpPr/>
          <p:nvPr/>
        </p:nvSpPr>
        <p:spPr>
          <a:xfrm>
            <a:off x="629538" y="5749633"/>
            <a:ext cx="3316922" cy="8441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убсидия</a:t>
            </a:r>
            <a:r>
              <a:rPr kumimoji="0" lang="ru-RU" sz="1050" i="0" u="none" strike="noStrike" kern="1200" cap="none" spc="0" normalizeH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работодателя для оплаты первоначального взноса / ежемесячного платежа</a:t>
            </a:r>
            <a:endParaRPr kumimoji="0" lang="ru-RU" sz="105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4027331" y="5747532"/>
            <a:ext cx="2975394" cy="8501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-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622239" y="5403991"/>
            <a:ext cx="3570973" cy="2792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ополнительные возмож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14212" y="6808629"/>
            <a:ext cx="696608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* Полный перечень жилищных комплексов, предоставляющих промо-ставку от 0,5% </a:t>
            </a:r>
            <a:r>
              <a:rPr lang="ru-RU" sz="10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  <a:hlinkClick r:id="rId2"/>
              </a:rPr>
              <a:t>по ссылке</a:t>
            </a:r>
            <a:r>
              <a:rPr lang="ru-RU" sz="1000" dirty="0">
                <a:latin typeface="Gilroy Light" panose="000004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861" y="124750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69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/>
          <p:cNvSpPr/>
          <p:nvPr/>
        </p:nvSpPr>
        <p:spPr>
          <a:xfrm>
            <a:off x="631825" y="5036307"/>
            <a:ext cx="4354627" cy="18382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2267736" y="2258806"/>
            <a:ext cx="6109633" cy="183822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2B2C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79139" y="158862"/>
            <a:ext cx="67289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1000"/>
              </a:spcAft>
              <a:buClr>
                <a:srgbClr val="EA5614"/>
              </a:buClr>
            </a:pPr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С</a:t>
            </a:r>
            <a:r>
              <a:rPr lang="ru-RU" sz="14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убсидия </a:t>
            </a:r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работодателя для оплаты первоначального взноса или  ежемесячного платежа</a:t>
            </a:r>
          </a:p>
        </p:txBody>
      </p:sp>
      <p:sp>
        <p:nvSpPr>
          <p:cNvPr id="10" name="Заголовок 3"/>
          <p:cNvSpPr txBox="1">
            <a:spLocks/>
          </p:cNvSpPr>
          <p:nvPr/>
        </p:nvSpPr>
        <p:spPr>
          <a:xfrm>
            <a:off x="984250" y="1168400"/>
            <a:ext cx="7620000" cy="31237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1800" b="1" kern="1200" dirty="0">
                <a:solidFill>
                  <a:srgbClr val="2E2F89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СБ </a:t>
            </a:r>
            <a:r>
              <a:rPr lang="ru-RU" sz="140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редлагает удобный процесс получения субсидии работником</a:t>
            </a:r>
            <a:endParaRPr lang="ru-RU" sz="14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 bwMode="auto">
          <a:xfrm>
            <a:off x="609051" y="1873250"/>
            <a:ext cx="75069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Возможный процесс получения субсидии у работодателя</a:t>
            </a:r>
          </a:p>
        </p:txBody>
      </p:sp>
      <p:sp>
        <p:nvSpPr>
          <p:cNvPr id="32" name="TextBox 31"/>
          <p:cNvSpPr txBox="1"/>
          <p:nvPr/>
        </p:nvSpPr>
        <p:spPr bwMode="auto">
          <a:xfrm>
            <a:off x="623188" y="4623496"/>
            <a:ext cx="5740823" cy="221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С ПСБ получить субсидию и купить квартиру просто</a:t>
            </a:r>
          </a:p>
        </p:txBody>
      </p:sp>
      <p:sp>
        <p:nvSpPr>
          <p:cNvPr id="41" name="TextBox 40"/>
          <p:cNvSpPr txBox="1"/>
          <p:nvPr/>
        </p:nvSpPr>
        <p:spPr bwMode="auto">
          <a:xfrm>
            <a:off x="5880100" y="5530850"/>
            <a:ext cx="4125874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4000" indent="-144000" defTabSz="914400">
              <a:spcBef>
                <a:spcPts val="600"/>
              </a:spcBef>
              <a:buClr>
                <a:srgbClr val="EA561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Оформление ипотеки и субсидии – </a:t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единый бесшовный процесс</a:t>
            </a:r>
          </a:p>
          <a:p>
            <a:pPr marL="144000" indent="-144000" defTabSz="914400">
              <a:spcBef>
                <a:spcPts val="600"/>
              </a:spcBef>
              <a:buClr>
                <a:srgbClr val="EA5614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Персональный менеджер помогает работнику </a:t>
            </a:r>
            <a:b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200" dirty="0" smtClean="0">
                <a:latin typeface="Verdana" panose="020B0604030504040204" pitchFamily="34" charset="0"/>
                <a:ea typeface="Verdana" panose="020B0604030504040204" pitchFamily="34" charset="0"/>
              </a:rPr>
              <a:t>с оформлением субсидии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623188" y="1044137"/>
            <a:ext cx="9447912" cy="549210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1003300" y="2336157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endParaRPr lang="ru-RU" sz="4000" b="1" dirty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994025" y="2336157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endParaRPr lang="ru-RU" sz="4000" b="1" dirty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9126631" y="2335090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5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5062391" y="2330450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ru-RU" sz="4000" b="1" dirty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993031" y="2335090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solidFill>
                  <a:schemeClr val="bg1">
                    <a:lumMod val="6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4</a:t>
            </a:r>
            <a:endParaRPr lang="ru-RU" sz="4000" b="1" dirty="0">
              <a:solidFill>
                <a:schemeClr val="bg1">
                  <a:lumMod val="6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/>
          <p:cNvSpPr txBox="1"/>
          <p:nvPr/>
        </p:nvSpPr>
        <p:spPr bwMode="auto">
          <a:xfrm>
            <a:off x="879089" y="3111976"/>
            <a:ext cx="122911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Работник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 подает заявк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у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 работодателю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субсидию</a:t>
            </a:r>
          </a:p>
        </p:txBody>
      </p:sp>
      <p:sp>
        <p:nvSpPr>
          <p:cNvPr id="50" name="TextBox 49"/>
          <p:cNvSpPr txBox="1"/>
          <p:nvPr/>
        </p:nvSpPr>
        <p:spPr bwMode="auto">
          <a:xfrm>
            <a:off x="2898389" y="3110607"/>
            <a:ext cx="122911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Работник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подписывает документы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субсидию</a:t>
            </a:r>
          </a:p>
        </p:txBody>
      </p:sp>
      <p:sp>
        <p:nvSpPr>
          <p:cNvPr id="51" name="TextBox 50"/>
          <p:cNvSpPr txBox="1"/>
          <p:nvPr/>
        </p:nvSpPr>
        <p:spPr bwMode="auto">
          <a:xfrm>
            <a:off x="4976927" y="3110607"/>
            <a:ext cx="1144233" cy="80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Работник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собирает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документы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о субсидии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для банка</a:t>
            </a:r>
          </a:p>
        </p:txBody>
      </p:sp>
      <p:sp>
        <p:nvSpPr>
          <p:cNvPr id="52" name="TextBox 51"/>
          <p:cNvSpPr txBox="1"/>
          <p:nvPr/>
        </p:nvSpPr>
        <p:spPr bwMode="auto">
          <a:xfrm>
            <a:off x="6927850" y="3120132"/>
            <a:ext cx="1411419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 smtClean="0">
                <a:latin typeface="Verdana" panose="020B0604030504040204" pitchFamily="34" charset="0"/>
                <a:ea typeface="Verdana" panose="020B0604030504040204" pitchFamily="34" charset="0"/>
              </a:rPr>
              <a:t>Работник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информирует </a:t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банк о субсидии</a:t>
            </a:r>
          </a:p>
        </p:txBody>
      </p:sp>
      <p:sp>
        <p:nvSpPr>
          <p:cNvPr id="54" name="TextBox 53"/>
          <p:cNvSpPr txBox="1"/>
          <p:nvPr/>
        </p:nvSpPr>
        <p:spPr bwMode="auto">
          <a:xfrm>
            <a:off x="9034369" y="3120132"/>
            <a:ext cx="119865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>
                <a:latin typeface="Verdana" panose="020B0604030504040204" pitchFamily="34" charset="0"/>
                <a:ea typeface="Verdana" panose="020B0604030504040204" pitchFamily="34" charset="0"/>
              </a:rPr>
              <a:t>Работник </a:t>
            </a:r>
            <a:endParaRPr lang="ru-RU" sz="1050" b="1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>
              <a:buClr>
                <a:schemeClr val="accent5"/>
              </a:buClr>
            </a:pP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подает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в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банк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заявку </a:t>
            </a:r>
            <a:endParaRPr lang="ru-RU" sz="105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914400">
              <a:buClr>
                <a:schemeClr val="accent5"/>
              </a:buClr>
            </a:pP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ипотеку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628890" y="3034407"/>
            <a:ext cx="1336435" cy="0"/>
          </a:xfrm>
          <a:prstGeom prst="line">
            <a:avLst/>
          </a:prstGeom>
          <a:ln w="38100">
            <a:solidFill>
              <a:srgbClr val="2B2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2638665" y="3034407"/>
            <a:ext cx="1336435" cy="0"/>
          </a:xfrm>
          <a:prstGeom prst="line">
            <a:avLst/>
          </a:prstGeom>
          <a:ln w="38100">
            <a:solidFill>
              <a:srgbClr val="2B2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4660900" y="3034407"/>
            <a:ext cx="1336435" cy="0"/>
          </a:xfrm>
          <a:prstGeom prst="line">
            <a:avLst/>
          </a:prstGeom>
          <a:ln w="38100">
            <a:solidFill>
              <a:srgbClr val="2B2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6680200" y="3034407"/>
            <a:ext cx="1336435" cy="0"/>
          </a:xfrm>
          <a:prstGeom prst="line">
            <a:avLst/>
          </a:prstGeom>
          <a:ln w="38100">
            <a:solidFill>
              <a:srgbClr val="2B2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8734665" y="3034407"/>
            <a:ext cx="1336435" cy="0"/>
          </a:xfrm>
          <a:prstGeom prst="line">
            <a:avLst/>
          </a:prstGeom>
          <a:ln w="38100">
            <a:solidFill>
              <a:srgbClr val="2B2C8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1441450" y="5197475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endParaRPr lang="ru-RU" sz="4000" b="1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1317239" y="5973294"/>
            <a:ext cx="122911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>
                <a:latin typeface="Verdana" panose="020B0604030504040204" pitchFamily="34" charset="0"/>
                <a:ea typeface="Verdana" panose="020B0604030504040204" pitchFamily="34" charset="0"/>
              </a:rPr>
              <a:t>Работник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 подает в Банк заявку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на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ипотеку</a:t>
            </a: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1067040" y="5895725"/>
            <a:ext cx="1336435" cy="0"/>
          </a:xfrm>
          <a:prstGeom prst="line">
            <a:avLst/>
          </a:prstGeom>
          <a:ln w="38100"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3498850" y="5197475"/>
            <a:ext cx="6301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EA561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endParaRPr lang="ru-RU" sz="4000" b="1" dirty="0">
              <a:solidFill>
                <a:srgbClr val="EA561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5" name="TextBox 64"/>
          <p:cNvSpPr txBox="1"/>
          <p:nvPr/>
        </p:nvSpPr>
        <p:spPr bwMode="auto">
          <a:xfrm>
            <a:off x="3374639" y="5973294"/>
            <a:ext cx="1229111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400">
              <a:buClr>
                <a:schemeClr val="accent5"/>
              </a:buClr>
            </a:pPr>
            <a:r>
              <a:rPr lang="ru-RU" sz="1050" b="1" dirty="0">
                <a:latin typeface="Verdana" panose="020B0604030504040204" pitchFamily="34" charset="0"/>
                <a:ea typeface="Verdana" panose="020B0604030504040204" pitchFamily="34" charset="0"/>
              </a:rPr>
              <a:t>Банк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 помогает </a:t>
            </a: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/>
            </a:r>
            <a:b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ru-RU" sz="1050" dirty="0" smtClean="0">
                <a:latin typeface="Verdana" panose="020B0604030504040204" pitchFamily="34" charset="0"/>
                <a:ea typeface="Verdana" panose="020B0604030504040204" pitchFamily="34" charset="0"/>
              </a:rPr>
              <a:t>с </a:t>
            </a:r>
            <a:r>
              <a:rPr lang="ru-RU" sz="1050" dirty="0">
                <a:latin typeface="Verdana" panose="020B0604030504040204" pitchFamily="34" charset="0"/>
                <a:ea typeface="Verdana" panose="020B0604030504040204" pitchFamily="34" charset="0"/>
              </a:rPr>
              <a:t>получением субсидии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3124440" y="5895725"/>
            <a:ext cx="1336435" cy="0"/>
          </a:xfrm>
          <a:prstGeom prst="line">
            <a:avLst/>
          </a:prstGeom>
          <a:ln w="38100">
            <a:solidFill>
              <a:srgbClr val="EA56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622300" y="4406900"/>
            <a:ext cx="94488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Прямоугольник 68"/>
          <p:cNvSpPr/>
          <p:nvPr/>
        </p:nvSpPr>
        <p:spPr>
          <a:xfrm>
            <a:off x="5432040" y="5045177"/>
            <a:ext cx="4631238" cy="1838223"/>
          </a:xfrm>
          <a:prstGeom prst="rect">
            <a:avLst/>
          </a:prstGeom>
          <a:noFill/>
          <a:ln w="12700">
            <a:solidFill>
              <a:srgbClr val="EA561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861" y="115709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000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631825" y="4322824"/>
            <a:ext cx="9441029" cy="12750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630071" y="2025650"/>
            <a:ext cx="9441029" cy="12562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47713" y="273050"/>
            <a:ext cx="3503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арианты субсидий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3094" y="1093497"/>
            <a:ext cx="6538364" cy="351520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67380" tIns="67380" rIns="67380" bIns="67380" spcCol="38100" anchor="ctr">
            <a:spAutoFit/>
          </a:bodyPr>
          <a:lstStyle/>
          <a:p>
            <a:pPr defTabSz="82153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Предприятие </a:t>
            </a:r>
            <a:r>
              <a:rPr lang="ru-RU" sz="1400" b="1" dirty="0" smtClean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ОПК может </a:t>
            </a:r>
            <a:r>
              <a:rPr lang="ru-RU" sz="1400" b="1" dirty="0">
                <a:latin typeface="Verdana" panose="020B0604030504040204" pitchFamily="34" charset="0"/>
                <a:ea typeface="Verdana" panose="020B0604030504040204" pitchFamily="34" charset="0"/>
                <a:cs typeface="Helvetica Neue"/>
                <a:sym typeface="Helvetica Neue"/>
              </a:rPr>
              <a:t>использовать следующие опции: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1980785" y="4338189"/>
            <a:ext cx="7556915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14350" indent="-514350"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1pPr>
            <a:lvl2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2pPr>
            <a:lvl3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3pPr>
            <a:lvl4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4pPr>
            <a:lvl5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5pPr>
            <a:lvl6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6pPr>
            <a:lvl7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7pPr>
            <a:lvl8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8pPr>
            <a:lvl9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9pPr>
          </a:lstStyle>
          <a:p>
            <a:pPr marL="0" indent="0">
              <a:spcBef>
                <a:spcPts val="600"/>
              </a:spcBef>
            </a:pPr>
            <a:endParaRPr lang="ru-RU" altLang="ru-RU" sz="1200" dirty="0" smtClean="0">
              <a:solidFill>
                <a:srgbClr val="0D0D0D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</a:pPr>
            <a: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убсидирование </a:t>
            </a:r>
            <a:r>
              <a:rPr lang="ru-RU" altLang="ru-RU" sz="120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процентной ставки по </a:t>
            </a:r>
            <a: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кредиту.</a:t>
            </a:r>
            <a:b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ПСБ предоставляет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льготную ставку по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кредиту. Предприятие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компенсирует банку недополученные проценты.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Выплата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единовременная.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85942" y="2456848"/>
            <a:ext cx="9432758" cy="21693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85942" y="4968239"/>
            <a:ext cx="9432758" cy="144568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1980785" y="2309093"/>
            <a:ext cx="794105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14350" indent="-514350"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1pPr>
            <a:lvl2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2pPr>
            <a:lvl3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3pPr>
            <a:lvl4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4pPr>
            <a:lvl5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5pPr>
            <a:lvl6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6pPr>
            <a:lvl7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7pPr>
            <a:lvl8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8pPr>
            <a:lvl9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9pPr>
          </a:lstStyle>
          <a:p>
            <a:pPr marL="0" indent="0" eaLnBrk="1">
              <a:spcBef>
                <a:spcPts val="600"/>
              </a:spcBef>
            </a:pPr>
            <a:r>
              <a:rPr lang="ru-RU" altLang="ru-RU" sz="120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убсидия  для оплаты первоначального взноса на покупку </a:t>
            </a:r>
            <a: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квартиры.</a:t>
            </a:r>
            <a:b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Денежные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редства предприятием перечисляются </a:t>
            </a:r>
            <a:r>
              <a:rPr lang="ru-RU" altLang="ru-RU" sz="1200" b="0" dirty="0" err="1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единоразово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 на счет аккредитива в ПСБ.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Расчеты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по сделке купли-продажи осуществляются после регистрации права собственности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работника.</a:t>
            </a:r>
            <a:endParaRPr lang="ru-RU" altLang="ru-RU" sz="1200" b="0" dirty="0">
              <a:solidFill>
                <a:srgbClr val="0D0D0D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1971975" y="3370109"/>
            <a:ext cx="794105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514350" indent="-514350"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1pPr>
            <a:lvl2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2pPr>
            <a:lvl3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3pPr>
            <a:lvl4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4pPr>
            <a:lvl5pPr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5pPr>
            <a:lvl6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6pPr>
            <a:lvl7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7pPr>
            <a:lvl8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8pPr>
            <a:lvl9pPr indent="-914400" defTabSz="820738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panose="02000806000000020004" pitchFamily="2" charset="-52"/>
                <a:ea typeface="Verdana" panose="020B0604030504040204" pitchFamily="34" charset="0"/>
                <a:cs typeface="Verdana" panose="020B0604030504040204" pitchFamily="34" charset="0"/>
                <a:sym typeface="Helvetica Neue" panose="02000806000000020004" pitchFamily="2" charset="-52"/>
              </a:defRPr>
            </a:lvl9pPr>
          </a:lstStyle>
          <a:p>
            <a:pPr marL="0" indent="0" eaLnBrk="1">
              <a:spcBef>
                <a:spcPts val="600"/>
              </a:spcBef>
            </a:pPr>
            <a: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убсидия </a:t>
            </a:r>
            <a:r>
              <a:rPr lang="ru-RU" altLang="ru-RU" sz="120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для оплаты ежемесячных платежей по </a:t>
            </a:r>
            <a: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кредиту.</a:t>
            </a:r>
            <a:br>
              <a:rPr lang="ru-RU" altLang="ru-RU" sz="120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После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выдачи ипотечного кредита предприятие ежемесячно перечисляет в ПСБ денежные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редства для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оплаты части ежемесячного платежа работника. Денежные средства зачисляются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</a:b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на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счет в банке 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без </a:t>
            </a:r>
            <a:r>
              <a:rPr lang="ru-RU" altLang="ru-RU" sz="1200" b="0" dirty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возможности снятия работником</a:t>
            </a:r>
            <a:r>
              <a:rPr lang="ru-RU" altLang="ru-RU" sz="1200" b="0" dirty="0" smtClean="0">
                <a:solidFill>
                  <a:srgbClr val="0D0D0D"/>
                </a:solidFill>
                <a:latin typeface="Verdana" panose="020B0604030504040204" pitchFamily="34" charset="0"/>
                <a:cs typeface="Arial" panose="020B0604020202020204" pitchFamily="34" charset="0"/>
              </a:rPr>
              <a:t>.</a:t>
            </a:r>
            <a:endParaRPr lang="ru-RU" altLang="ru-RU" sz="1200" b="0" dirty="0">
              <a:solidFill>
                <a:srgbClr val="0D0D0D"/>
              </a:solidFill>
              <a:latin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81113" y="2489227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1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9500" y="3416586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2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79500" y="4385100"/>
            <a:ext cx="6841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3</a:t>
            </a:r>
            <a:endParaRPr lang="ru-RU" sz="4000" b="1" dirty="0">
              <a:solidFill>
                <a:srgbClr val="2B2C84"/>
              </a:solidFill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905000" y="2424946"/>
            <a:ext cx="0" cy="2753765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861" y="115709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62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Прямоугольник 147"/>
          <p:cNvSpPr/>
          <p:nvPr/>
        </p:nvSpPr>
        <p:spPr>
          <a:xfrm>
            <a:off x="476046" y="5683249"/>
            <a:ext cx="9724982" cy="9906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2368035" y="5799645"/>
            <a:ext cx="2964090" cy="7284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рограмма –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ГОСПРОГРАММА 2020</a:t>
            </a:r>
          </a:p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роцентная ставка –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5,85%</a:t>
            </a:r>
          </a:p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Срок кредитования –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15 лет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32297" y="1181554"/>
            <a:ext cx="9459837" cy="507973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spcFirstLastPara="1" wrap="square" lIns="67380" tIns="67380" rIns="67380" bIns="67380" spcCol="38100" anchor="ctr">
            <a:spAutoFit/>
          </a:bodyPr>
          <a:lstStyle/>
          <a:p>
            <a:pPr marL="0" marR="0" lvl="0" indent="0" algn="ctr" defTabSz="8215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НА КАЖДЫЕ ВЫДЕЛЕННЫЕ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26127"/>
                </a:solidFill>
                <a:effectLst/>
                <a:uLnTx/>
                <a:uFillTx/>
                <a:latin typeface="Gilroy Bold" panose="000008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100 000 000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26127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</a:rPr>
              <a:t>₽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26127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БЮДЖЕТНЫХ СРЕДСТВ 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Helvetica Neue"/>
                <a:sym typeface="Helvetica Neue"/>
              </a:rPr>
              <a:t>МЕСЯЦ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roy SemiBold" panose="00000700000000000000" pitchFamily="50" charset="-52"/>
              <a:ea typeface="Verdana" panose="020B0604030504040204" pitchFamily="34" charset="0"/>
              <a:cs typeface="Helvetica Neue"/>
              <a:sym typeface="Helvetica Neue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477531" y="1047140"/>
            <a:ext cx="9769370" cy="756451"/>
          </a:xfrm>
          <a:prstGeom prst="rect">
            <a:avLst/>
          </a:prstGeom>
          <a:noFill/>
          <a:ln w="19050">
            <a:solidFill>
              <a:srgbClr val="F2612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 flipH="1">
            <a:off x="5332125" y="2174449"/>
            <a:ext cx="0" cy="320400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  <a:tailEnd type="none"/>
          </a:ln>
          <a:effectLst/>
        </p:spPr>
      </p:cxnSp>
      <p:sp>
        <p:nvSpPr>
          <p:cNvPr id="149" name="TextBox 148"/>
          <p:cNvSpPr txBox="1"/>
          <p:nvPr/>
        </p:nvSpPr>
        <p:spPr bwMode="auto">
          <a:xfrm>
            <a:off x="476047" y="2101849"/>
            <a:ext cx="4694409" cy="549653"/>
          </a:xfrm>
          <a:prstGeom prst="rect">
            <a:avLst/>
          </a:prstGeom>
          <a:solidFill>
            <a:srgbClr val="EA5614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  <a:sym typeface="Helvetica Neue" panose="02000806000000020004" pitchFamily="2" charset="-52"/>
              </a:rPr>
              <a:t>СУБСИДИРОВАНИЕ ПЕРВОНАЧАЛЬНОГО ВЗНОСА</a:t>
            </a:r>
          </a:p>
        </p:txBody>
      </p:sp>
      <p:sp>
        <p:nvSpPr>
          <p:cNvPr id="150" name="TextBox 149"/>
          <p:cNvSpPr txBox="1"/>
          <p:nvPr/>
        </p:nvSpPr>
        <p:spPr bwMode="auto">
          <a:xfrm>
            <a:off x="5478134" y="2101850"/>
            <a:ext cx="4767282" cy="549652"/>
          </a:xfrm>
          <a:prstGeom prst="rect">
            <a:avLst/>
          </a:prstGeom>
          <a:solidFill>
            <a:srgbClr val="EA5614"/>
          </a:solidFill>
          <a:ln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СУБСИДИРОВАНИЕ ЕЖЕМЕСЯЧНОГО ПЛАТЕЖ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66362" y="5799645"/>
            <a:ext cx="3347391" cy="72840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Первоначальн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взнос –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15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%</a:t>
            </a:r>
          </a:p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Стоимость объекта недвижимости –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2 млн. ₽</a:t>
            </a:r>
          </a:p>
          <a:p>
            <a:pPr marL="171450" marR="0" lvl="0" indent="-17145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 typeface="Arial" panose="020B0604020202020204" pitchFamily="34" charset="0"/>
              <a:buChar char="•"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Размер кредита  –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1,7 млн.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₽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58" name="Прямоугольник 157"/>
          <p:cNvSpPr/>
          <p:nvPr/>
        </p:nvSpPr>
        <p:spPr>
          <a:xfrm>
            <a:off x="439431" y="7158851"/>
            <a:ext cx="235192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2B3494"/>
              </a:buClr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+mn-cs"/>
              </a:rPr>
              <a:t>*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 25% от ежемесячного платежа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59" name="Прямоугольник 158"/>
          <p:cNvSpPr/>
          <p:nvPr/>
        </p:nvSpPr>
        <p:spPr>
          <a:xfrm>
            <a:off x="557377" y="5796470"/>
            <a:ext cx="550240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Tx/>
              <a:buNone/>
              <a:tabLst/>
              <a:defRPr sz="18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B349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+mn-cs"/>
              </a:rPr>
              <a:t>РАСЧЕТНЫЕ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B349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+mn-cs"/>
              </a:rPr>
              <a:t>Д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B349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+mn-cs"/>
              </a:rPr>
              <a:t>АННЫЕ: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B3494"/>
              </a:solidFill>
              <a:effectLst/>
              <a:uLnTx/>
              <a:uFillTx/>
              <a:latin typeface="Gilroy" panose="000005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2" name="Прямоугольник 161"/>
          <p:cNvSpPr/>
          <p:nvPr/>
        </p:nvSpPr>
        <p:spPr>
          <a:xfrm>
            <a:off x="2119589" y="3549754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300 000 ₽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Прямоугольник 162"/>
          <p:cNvSpPr/>
          <p:nvPr/>
        </p:nvSpPr>
        <p:spPr>
          <a:xfrm>
            <a:off x="497726" y="3549754"/>
            <a:ext cx="1440000" cy="1800000"/>
          </a:xfrm>
          <a:prstGeom prst="rect">
            <a:avLst/>
          </a:prstGeom>
          <a:solidFill>
            <a:srgbClr val="2B2C84"/>
          </a:solidFill>
        </p:spPr>
        <p:txBody>
          <a:bodyPr wrap="square" lIns="72000" rIns="72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+mn-cs"/>
              </a:rPr>
              <a:t>333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 SemiBold" panose="000007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4" name="TextBox 163"/>
          <p:cNvSpPr txBox="1"/>
          <p:nvPr/>
        </p:nvSpPr>
        <p:spPr bwMode="auto">
          <a:xfrm>
            <a:off x="404506" y="2880746"/>
            <a:ext cx="162158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КОЛИЧЕСТВО РАБОТНИКОВ В МЕСЯЦ, КОТОРЫЕ МОГУТ ВОСПОЛЬЗОВАТЬСЯ СУБСИДИЕ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5" name="TextBox 164"/>
          <p:cNvSpPr txBox="1"/>
          <p:nvPr/>
        </p:nvSpPr>
        <p:spPr bwMode="auto">
          <a:xfrm>
            <a:off x="3739017" y="2880972"/>
            <a:ext cx="144449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РАЗМЕР СУБСИДИИ – МИНИМАЛЬНЫЙ РАЗМЕР ПЕРВОНАЧАЛЬНОГО ВЗНОС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6" name="Прямоугольник 165"/>
          <p:cNvSpPr/>
          <p:nvPr/>
        </p:nvSpPr>
        <p:spPr>
          <a:xfrm>
            <a:off x="3716089" y="3549754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5%</a:t>
            </a:r>
          </a:p>
        </p:txBody>
      </p:sp>
      <p:sp>
        <p:nvSpPr>
          <p:cNvPr id="167" name="TextBox 166"/>
          <p:cNvSpPr txBox="1"/>
          <p:nvPr/>
        </p:nvSpPr>
        <p:spPr bwMode="auto">
          <a:xfrm>
            <a:off x="2131963" y="3006050"/>
            <a:ext cx="1440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РАЗМЕР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СУБСИДИИ НА ОДНОГО РАБОТНИКА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7115060" y="3563027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42 774 ₽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5493795" y="3561697"/>
            <a:ext cx="1440000" cy="1800000"/>
          </a:xfrm>
          <a:prstGeom prst="rect">
            <a:avLst/>
          </a:prstGeom>
          <a:solidFill>
            <a:srgbClr val="2B2C84"/>
          </a:solidFill>
        </p:spPr>
        <p:txBody>
          <a:bodyPr wrap="square" lIns="72000" rIns="7200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SemiBold" panose="00000700000000000000" pitchFamily="50" charset="-52"/>
                <a:ea typeface="Verdana" panose="020B0604030504040204" pitchFamily="34" charset="0"/>
                <a:cs typeface="+mn-cs"/>
              </a:rPr>
              <a:t>2 338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 SemiBold" panose="000007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0" name="TextBox 169"/>
          <p:cNvSpPr txBox="1"/>
          <p:nvPr/>
        </p:nvSpPr>
        <p:spPr bwMode="auto">
          <a:xfrm>
            <a:off x="5420491" y="2880746"/>
            <a:ext cx="162652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КОЛИЧЕСТВО РАБОТНИКОВ, КОТОРЫЕ МОГУТ ПОЛУЧАТЬ СУБСИДИЮ В ТЕЧЕНИЕ</a:t>
            </a:r>
          </a:p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12 МЕСЯЦЕВ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1" name="TextBox 170"/>
          <p:cNvSpPr txBox="1"/>
          <p:nvPr/>
        </p:nvSpPr>
        <p:spPr bwMode="auto">
          <a:xfrm>
            <a:off x="8710925" y="3012150"/>
            <a:ext cx="15101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РАЗМЕР ЕЖЕМЕСЯЧНОГО ПЛАТЕЖА ПО КРЕДИТУ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Gilroy Light" panose="00000400000000000000" pitchFamily="50" charset="-52"/>
              <a:ea typeface="Verdana" panose="020B0604030504040204" pitchFamily="34" charset="0"/>
              <a:cs typeface="+mn-cs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8761028" y="3561697"/>
            <a:ext cx="1440000" cy="180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B2C84"/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Arial" panose="020B0604020202020204" pitchFamily="34" charset="0"/>
              </a:rPr>
              <a:t>14 258 ₽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A5614"/>
              </a:solidFill>
              <a:effectLst/>
              <a:uLnTx/>
              <a:uFillTx/>
              <a:latin typeface="Gilroy" panose="00000500000000000000" pitchFamily="50" charset="-52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 bwMode="auto">
          <a:xfrm>
            <a:off x="7135384" y="2894019"/>
            <a:ext cx="1354157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1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ACC6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РАЗМЕР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Gilroy Light" panose="00000400000000000000" pitchFamily="50" charset="-52"/>
                <a:ea typeface="Verdana" panose="020B0604030504040204" pitchFamily="34" charset="0"/>
                <a:cs typeface="+mn-cs"/>
              </a:rPr>
              <a:t>СУБСИДИИ НА ОДНОГО РАБОТНИКА ЗА  12 МЕСЯЦЕВ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Gilroy" panose="00000500000000000000" pitchFamily="50" charset="-52"/>
                <a:ea typeface="Verdana" panose="020B0604030504040204" pitchFamily="34" charset="0"/>
                <a:cs typeface="+mn-cs"/>
              </a:rPr>
              <a:t> *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Gilroy" panose="00000500000000000000" pitchFamily="50" charset="-52"/>
              <a:ea typeface="Verdana" panose="020B0604030504040204" pitchFamily="34" charset="0"/>
              <a:cs typeface="+mn-cs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629538" y="679451"/>
            <a:ext cx="94415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547713" y="273050"/>
            <a:ext cx="35035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B2C84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арианты субсидий 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500" y="105420"/>
            <a:ext cx="2019239" cy="563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35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TwqLZQTzTkQ8ES2_tzB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754</TotalTime>
  <Words>1803</Words>
  <Application>Microsoft Office PowerPoint</Application>
  <PresentationFormat>Произвольный</PresentationFormat>
  <Paragraphs>342</Paragraphs>
  <Slides>18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1" baseType="lpstr">
      <vt:lpstr>Akzidenz-Grotesk Pro Regular</vt:lpstr>
      <vt:lpstr>Arial</vt:lpstr>
      <vt:lpstr>Calibri</vt:lpstr>
      <vt:lpstr>Century Gothic</vt:lpstr>
      <vt:lpstr>Gilroy</vt:lpstr>
      <vt:lpstr>Gilroy Bold</vt:lpstr>
      <vt:lpstr>Gilroy Light</vt:lpstr>
      <vt:lpstr>Gilroy SemiBold</vt:lpstr>
      <vt:lpstr>Helvetica Neue</vt:lpstr>
      <vt:lpstr>Muller</vt:lpstr>
      <vt:lpstr>Verdana</vt:lpstr>
      <vt:lpstr>Wingdings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icrosoft PowerPoint - ~2982406</dc:title>
  <dc:creator>timofeevael</dc:creator>
  <cp:lastModifiedBy>Дзамукашвили С</cp:lastModifiedBy>
  <cp:revision>894</cp:revision>
  <cp:lastPrinted>2020-08-24T09:33:35Z</cp:lastPrinted>
  <dcterms:created xsi:type="dcterms:W3CDTF">2018-02-14T15:22:45Z</dcterms:created>
  <dcterms:modified xsi:type="dcterms:W3CDTF">2021-08-03T11:0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1-29T00:00:00Z</vt:filetime>
  </property>
  <property fmtid="{D5CDD505-2E9C-101B-9397-08002B2CF9AE}" pid="3" name="Creator">
    <vt:lpwstr>PDFCreator 2.1.0.0</vt:lpwstr>
  </property>
  <property fmtid="{D5CDD505-2E9C-101B-9397-08002B2CF9AE}" pid="4" name="LastSaved">
    <vt:filetime>2018-02-14T00:00:00Z</vt:filetime>
  </property>
</Properties>
</file>